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heme/themeOverride3.xml" ContentType="application/vnd.openxmlformats-officedocument.themeOverride+xml"/>
  <Override PartName="/ppt/tags/tag12.xml" ContentType="application/vnd.openxmlformats-officedocument.presentationml.tags+xml"/>
  <Override PartName="/ppt/theme/themeOverride4.xml" ContentType="application/vnd.openxmlformats-officedocument.themeOverride+xml"/>
  <Override PartName="/ppt/tags/tag13.xml" ContentType="application/vnd.openxmlformats-officedocument.presentationml.tags+xml"/>
  <Override PartName="/ppt/theme/themeOverride5.xml" ContentType="application/vnd.openxmlformats-officedocument.themeOverride+xml"/>
  <Override PartName="/ppt/tags/tag14.xml" ContentType="application/vnd.openxmlformats-officedocument.presentationml.tags+xml"/>
  <Override PartName="/ppt/theme/themeOverride6.xml" ContentType="application/vnd.openxmlformats-officedocument.themeOverride+xml"/>
  <Override PartName="/ppt/tags/tag15.xml" ContentType="application/vnd.openxmlformats-officedocument.presentationml.tags+xml"/>
  <Override PartName="/ppt/theme/themeOverride7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8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9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10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11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12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Override14.xml" ContentType="application/vnd.openxmlformats-officedocument.themeOverride+xml"/>
  <Override PartName="/ppt/tags/tag41.xml" ContentType="application/vnd.openxmlformats-officedocument.presentationml.tags+xml"/>
  <Override PartName="/ppt/theme/themeOverride15.xml" ContentType="application/vnd.openxmlformats-officedocument.themeOverride+xml"/>
  <Override PartName="/ppt/tags/tag42.xml" ContentType="application/vnd.openxmlformats-officedocument.presentationml.tags+xml"/>
  <Override PartName="/ppt/theme/themeOverride16.xml" ContentType="application/vnd.openxmlformats-officedocument.themeOverride+xml"/>
  <Override PartName="/ppt/tags/tag43.xml" ContentType="application/vnd.openxmlformats-officedocument.presentationml.tags+xml"/>
  <Override PartName="/ppt/theme/themeOverride17.xml" ContentType="application/vnd.openxmlformats-officedocument.themeOverride+xml"/>
  <Override PartName="/ppt/tags/tag44.xml" ContentType="application/vnd.openxmlformats-officedocument.presentationml.tags+xml"/>
  <Override PartName="/ppt/theme/themeOverride18.xml" ContentType="application/vnd.openxmlformats-officedocument.themeOverride+xml"/>
  <Override PartName="/ppt/tags/tag45.xml" ContentType="application/vnd.openxmlformats-officedocument.presentationml.tags+xml"/>
  <Override PartName="/ppt/theme/themeOverride19.xml" ContentType="application/vnd.openxmlformats-officedocument.themeOverride+xml"/>
  <Override PartName="/ppt/tags/tag46.xml" ContentType="application/vnd.openxmlformats-officedocument.presentationml.tags+xml"/>
  <Override PartName="/ppt/theme/themeOverride20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Override21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Override22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Override23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Override24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25.xml" ContentType="application/vnd.openxmlformats-officedocument.themeOverride+xml"/>
  <Override PartName="/ppt/tags/tag59.xml" ContentType="application/vnd.openxmlformats-officedocument.presentationml.tags+xml"/>
  <Override PartName="/ppt/theme/themeOverride26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27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28.xml" ContentType="application/vnd.openxmlformats-officedocument.themeOverride+xml"/>
  <Override PartName="/ppt/tags/tag67.xml" ContentType="application/vnd.openxmlformats-officedocument.presentationml.tags+xml"/>
  <Override PartName="/ppt/theme/themeOverride29.xml" ContentType="application/vnd.openxmlformats-officedocument.themeOverride+xml"/>
  <Override PartName="/ppt/tags/tag68.xml" ContentType="application/vnd.openxmlformats-officedocument.presentationml.tags+xml"/>
  <Override PartName="/ppt/theme/themeOverride30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Override31.xml" ContentType="application/vnd.openxmlformats-officedocument.themeOverride+xml"/>
  <Override PartName="/ppt/tags/tag74.xml" ContentType="application/vnd.openxmlformats-officedocument.presentationml.tags+xml"/>
  <Override PartName="/ppt/theme/themeOverride32.xml" ContentType="application/vnd.openxmlformats-officedocument.themeOverride+xml"/>
  <Override PartName="/ppt/tags/tag75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2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3.xml" ContentType="application/vnd.openxmlformats-officedocument.presentationml.notesSlide+xml"/>
  <Override PartName="/ppt/tags/tag111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 bookmarkIdSeed="2">
  <p:sldMasterIdLst>
    <p:sldMasterId id="2147485185" r:id="rId4"/>
    <p:sldMasterId id="2147485253" r:id="rId5"/>
  </p:sldMasterIdLst>
  <p:notesMasterIdLst>
    <p:notesMasterId r:id="rId12"/>
  </p:notesMasterIdLst>
  <p:handoutMasterIdLst>
    <p:handoutMasterId r:id="rId13"/>
  </p:handoutMasterIdLst>
  <p:sldIdLst>
    <p:sldId id="277" r:id="rId6"/>
    <p:sldId id="2147481866" r:id="rId7"/>
    <p:sldId id="260" r:id="rId8"/>
    <p:sldId id="276" r:id="rId9"/>
    <p:sldId id="2147481867" r:id="rId10"/>
    <p:sldId id="272" r:id="rId11"/>
  </p:sldIdLst>
  <p:sldSz cx="12192000" cy="6858000"/>
  <p:notesSz cx="6950075" cy="9236075"/>
  <p:custShowLst>
    <p:custShow name="Format Guide Workshop" id="0">
      <p:sldLst/>
    </p:custShow>
  </p:custShowLst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C422"/>
    <a:srgbClr val="3E89ED"/>
    <a:srgbClr val="FFD400"/>
    <a:srgbClr val="A0ABBB"/>
    <a:srgbClr val="FB0278"/>
    <a:srgbClr val="FFFFFF"/>
    <a:srgbClr val="DBDBDB"/>
    <a:srgbClr val="AB5555"/>
    <a:srgbClr val="1A5BA7"/>
    <a:srgbClr val="CDCF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E02A07-7313-4654-B67B-8CA3524F80A2}" v="63" dt="2025-03-20T17:06:30.2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23"/>
    <p:restoredTop sz="94673"/>
  </p:normalViewPr>
  <p:slideViewPr>
    <p:cSldViewPr snapToGrid="0">
      <p:cViewPr>
        <p:scale>
          <a:sx n="150" d="100"/>
          <a:sy n="150" d="100"/>
        </p:scale>
        <p:origin x="2172" y="-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eph, Tyler" userId="d95ade4d-0576-43d0-bb19-3f7a19f59750" providerId="ADAL" clId="{F2E02A07-7313-4654-B67B-8CA3524F80A2}"/>
    <pc:docChg chg="undo custSel addSld delSld modSld sldOrd">
      <pc:chgData name="Joseph, Tyler" userId="d95ade4d-0576-43d0-bb19-3f7a19f59750" providerId="ADAL" clId="{F2E02A07-7313-4654-B67B-8CA3524F80A2}" dt="2025-03-20T17:14:54.117" v="1156" actId="20577"/>
      <pc:docMkLst>
        <pc:docMk/>
      </pc:docMkLst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313307245" sldId="256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2211987126" sldId="258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992381457" sldId="259"/>
        </pc:sldMkLst>
      </pc:sldChg>
      <pc:sldChg chg="modSp add mod">
        <pc:chgData name="Joseph, Tyler" userId="d95ade4d-0576-43d0-bb19-3f7a19f59750" providerId="ADAL" clId="{F2E02A07-7313-4654-B67B-8CA3524F80A2}" dt="2025-03-20T16:56:42.558" v="381" actId="20577"/>
        <pc:sldMkLst>
          <pc:docMk/>
          <pc:sldMk cId="1871674052" sldId="260"/>
        </pc:sldMkLst>
        <pc:graphicFrameChg chg="modGraphic">
          <ac:chgData name="Joseph, Tyler" userId="d95ade4d-0576-43d0-bb19-3f7a19f59750" providerId="ADAL" clId="{F2E02A07-7313-4654-B67B-8CA3524F80A2}" dt="2025-03-20T16:56:42.558" v="381" actId="20577"/>
          <ac:graphicFrameMkLst>
            <pc:docMk/>
            <pc:sldMk cId="1871674052" sldId="260"/>
            <ac:graphicFrameMk id="28" creationId="{F6DE20F9-07B9-8EB4-57B7-1327294B0B1E}"/>
          </ac:graphicFrameMkLst>
        </pc:graphicFrameChg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3934947838" sldId="260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2076490584" sldId="261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3403764828" sldId="262"/>
        </pc:sldMkLst>
      </pc:sldChg>
      <pc:sldChg chg="del">
        <pc:chgData name="Joseph, Tyler" userId="d95ade4d-0576-43d0-bb19-3f7a19f59750" providerId="ADAL" clId="{F2E02A07-7313-4654-B67B-8CA3524F80A2}" dt="2025-03-20T16:29:50.631" v="3" actId="47"/>
        <pc:sldMkLst>
          <pc:docMk/>
          <pc:sldMk cId="1303417373" sldId="263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3750861527" sldId="264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2590445766" sldId="265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409087279" sldId="266"/>
        </pc:sldMkLst>
      </pc:sldChg>
      <pc:sldChg chg="del">
        <pc:chgData name="Joseph, Tyler" userId="d95ade4d-0576-43d0-bb19-3f7a19f59750" providerId="ADAL" clId="{F2E02A07-7313-4654-B67B-8CA3524F80A2}" dt="2025-03-20T16:29:50.262" v="2" actId="47"/>
        <pc:sldMkLst>
          <pc:docMk/>
          <pc:sldMk cId="3431219976" sldId="267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551080732" sldId="268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1400806293" sldId="270"/>
        </pc:sldMkLst>
      </pc:sldChg>
      <pc:sldChg chg="addSp delSp modSp add del mod">
        <pc:chgData name="Joseph, Tyler" userId="d95ade4d-0576-43d0-bb19-3f7a19f59750" providerId="ADAL" clId="{F2E02A07-7313-4654-B67B-8CA3524F80A2}" dt="2025-03-20T17:01:01.805" v="525" actId="20577"/>
        <pc:sldMkLst>
          <pc:docMk/>
          <pc:sldMk cId="3843149657" sldId="272"/>
        </pc:sldMkLst>
        <pc:spChg chg="add del mod modVis">
          <ac:chgData name="Joseph, Tyler" userId="d95ade4d-0576-43d0-bb19-3f7a19f59750" providerId="ADAL" clId="{F2E02A07-7313-4654-B67B-8CA3524F80A2}" dt="2025-03-20T16:57:42.861" v="470"/>
          <ac:spMkLst>
            <pc:docMk/>
            <pc:sldMk cId="3843149657" sldId="272"/>
            <ac:spMk id="2" creationId="{B7567FA9-4B18-CFC8-0DF7-5EF249256B2F}"/>
          </ac:spMkLst>
        </pc:spChg>
        <pc:spChg chg="del">
          <ac:chgData name="Joseph, Tyler" userId="d95ade4d-0576-43d0-bb19-3f7a19f59750" providerId="ADAL" clId="{F2E02A07-7313-4654-B67B-8CA3524F80A2}" dt="2025-03-20T16:57:30.616" v="445" actId="478"/>
          <ac:spMkLst>
            <pc:docMk/>
            <pc:sldMk cId="3843149657" sldId="272"/>
            <ac:spMk id="6" creationId="{49AEE728-D502-F6EF-09AA-258286585124}"/>
          </ac:spMkLst>
        </pc:spChg>
        <pc:spChg chg="mod">
          <ac:chgData name="Joseph, Tyler" userId="d95ade4d-0576-43d0-bb19-3f7a19f59750" providerId="ADAL" clId="{F2E02A07-7313-4654-B67B-8CA3524F80A2}" dt="2025-03-20T16:57:42.836" v="447" actId="948"/>
          <ac:spMkLst>
            <pc:docMk/>
            <pc:sldMk cId="3843149657" sldId="272"/>
            <ac:spMk id="25" creationId="{85691C05-73D8-AD57-7C2A-90A309B0DC1A}"/>
          </ac:spMkLst>
        </pc:spChg>
        <pc:graphicFrameChg chg="del">
          <ac:chgData name="Joseph, Tyler" userId="d95ade4d-0576-43d0-bb19-3f7a19f59750" providerId="ADAL" clId="{F2E02A07-7313-4654-B67B-8CA3524F80A2}" dt="2025-03-20T16:57:42.857" v="468"/>
          <ac:graphicFrameMkLst>
            <pc:docMk/>
            <pc:sldMk cId="3843149657" sldId="272"/>
            <ac:graphicFrameMk id="7" creationId="{00699567-7B2F-340C-FE10-BA5721AD56A2}"/>
          </ac:graphicFrameMkLst>
        </pc:graphicFrameChg>
        <pc:graphicFrameChg chg="mod">
          <ac:chgData name="Joseph, Tyler" userId="d95ade4d-0576-43d0-bb19-3f7a19f59750" providerId="ADAL" clId="{F2E02A07-7313-4654-B67B-8CA3524F80A2}" dt="2025-03-20T16:57:42.861" v="472"/>
          <ac:graphicFrameMkLst>
            <pc:docMk/>
            <pc:sldMk cId="3843149657" sldId="272"/>
            <ac:graphicFrameMk id="24" creationId="{C0BDCD70-F446-AC46-1DA8-DC0451DD8FEE}"/>
          </ac:graphicFrameMkLst>
        </pc:graphicFrameChg>
        <pc:graphicFrameChg chg="modGraphic">
          <ac:chgData name="Joseph, Tyler" userId="d95ade4d-0576-43d0-bb19-3f7a19f59750" providerId="ADAL" clId="{F2E02A07-7313-4654-B67B-8CA3524F80A2}" dt="2025-03-20T17:01:01.805" v="525" actId="20577"/>
          <ac:graphicFrameMkLst>
            <pc:docMk/>
            <pc:sldMk cId="3843149657" sldId="272"/>
            <ac:graphicFrameMk id="41" creationId="{63DBB529-AA48-F2A3-E0BA-B3304BE0CFB2}"/>
          </ac:graphicFrameMkLst>
        </pc:graphicFrameChg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3882116656" sldId="275"/>
        </pc:sldMkLst>
      </pc:sldChg>
      <pc:sldChg chg="modSp mod">
        <pc:chgData name="Joseph, Tyler" userId="d95ade4d-0576-43d0-bb19-3f7a19f59750" providerId="ADAL" clId="{F2E02A07-7313-4654-B67B-8CA3524F80A2}" dt="2025-03-20T17:14:36.969" v="1155" actId="20577"/>
        <pc:sldMkLst>
          <pc:docMk/>
          <pc:sldMk cId="1456328563" sldId="276"/>
        </pc:sldMkLst>
        <pc:spChg chg="mod">
          <ac:chgData name="Joseph, Tyler" userId="d95ade4d-0576-43d0-bb19-3f7a19f59750" providerId="ADAL" clId="{F2E02A07-7313-4654-B67B-8CA3524F80A2}" dt="2025-03-20T17:14:36.969" v="1155" actId="20577"/>
          <ac:spMkLst>
            <pc:docMk/>
            <pc:sldMk cId="1456328563" sldId="276"/>
            <ac:spMk id="15" creationId="{D96A5CC7-0B1B-5237-6399-A92BCD58B6FD}"/>
          </ac:spMkLst>
        </pc:spChg>
      </pc:sldChg>
      <pc:sldChg chg="modSp mod">
        <pc:chgData name="Joseph, Tyler" userId="d95ade4d-0576-43d0-bb19-3f7a19f59750" providerId="ADAL" clId="{F2E02A07-7313-4654-B67B-8CA3524F80A2}" dt="2025-03-20T16:30:14.103" v="70" actId="20577"/>
        <pc:sldMkLst>
          <pc:docMk/>
          <pc:sldMk cId="4031612863" sldId="277"/>
        </pc:sldMkLst>
        <pc:spChg chg="mod">
          <ac:chgData name="Joseph, Tyler" userId="d95ade4d-0576-43d0-bb19-3f7a19f59750" providerId="ADAL" clId="{F2E02A07-7313-4654-B67B-8CA3524F80A2}" dt="2025-03-20T16:30:14.103" v="70" actId="20577"/>
          <ac:spMkLst>
            <pc:docMk/>
            <pc:sldMk cId="4031612863" sldId="277"/>
            <ac:spMk id="5" creationId="{3F720A33-A5FA-4CAB-BD6E-99A125F86636}"/>
          </ac:spMkLst>
        </pc:spChg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153141250" sldId="278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4078884947" sldId="279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1814706348" sldId="280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2852417488" sldId="281"/>
        </pc:sldMkLst>
      </pc:sldChg>
      <pc:sldChg chg="del">
        <pc:chgData name="Joseph, Tyler" userId="d95ade4d-0576-43d0-bb19-3f7a19f59750" providerId="ADAL" clId="{F2E02A07-7313-4654-B67B-8CA3524F80A2}" dt="2025-03-20T16:29:49.440" v="1" actId="47"/>
        <pc:sldMkLst>
          <pc:docMk/>
          <pc:sldMk cId="2129111757" sldId="282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3219857452" sldId="283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1513913987" sldId="284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2489480920" sldId="285"/>
        </pc:sldMkLst>
      </pc:sldChg>
      <pc:sldChg chg="del">
        <pc:chgData name="Joseph, Tyler" userId="d95ade4d-0576-43d0-bb19-3f7a19f59750" providerId="ADAL" clId="{F2E02A07-7313-4654-B67B-8CA3524F80A2}" dt="2025-03-20T16:29:51.533" v="5" actId="47"/>
        <pc:sldMkLst>
          <pc:docMk/>
          <pc:sldMk cId="1842762255" sldId="293"/>
        </pc:sldMkLst>
      </pc:sldChg>
      <pc:sldChg chg="addSp delSp modSp add mod ord">
        <pc:chgData name="Joseph, Tyler" userId="d95ade4d-0576-43d0-bb19-3f7a19f59750" providerId="ADAL" clId="{F2E02A07-7313-4654-B67B-8CA3524F80A2}" dt="2025-03-20T16:56:14.334" v="371" actId="207"/>
        <pc:sldMkLst>
          <pc:docMk/>
          <pc:sldMk cId="749523151" sldId="2147481866"/>
        </pc:sldMkLst>
        <pc:spChg chg="mod">
          <ac:chgData name="Joseph, Tyler" userId="d95ade4d-0576-43d0-bb19-3f7a19f59750" providerId="ADAL" clId="{F2E02A07-7313-4654-B67B-8CA3524F80A2}" dt="2025-03-20T16:53:00.579" v="300" actId="948"/>
          <ac:spMkLst>
            <pc:docMk/>
            <pc:sldMk cId="749523151" sldId="2147481866"/>
            <ac:spMk id="2" creationId="{A753192D-12C7-BE8B-B04E-7314B8C7C81B}"/>
          </ac:spMkLst>
        </pc:spChg>
        <pc:spChg chg="add del mod modVis">
          <ac:chgData name="Joseph, Tyler" userId="d95ade4d-0576-43d0-bb19-3f7a19f59750" providerId="ADAL" clId="{F2E02A07-7313-4654-B67B-8CA3524F80A2}" dt="2025-03-20T16:52:35.959" v="108"/>
          <ac:spMkLst>
            <pc:docMk/>
            <pc:sldMk cId="749523151" sldId="2147481866"/>
            <ac:spMk id="4" creationId="{7F389212-709F-11C9-D2E6-AB7EC1C62E56}"/>
          </ac:spMkLst>
        </pc:spChg>
        <pc:spChg chg="add del mod modVis">
          <ac:chgData name="Joseph, Tyler" userId="d95ade4d-0576-43d0-bb19-3f7a19f59750" providerId="ADAL" clId="{F2E02A07-7313-4654-B67B-8CA3524F80A2}" dt="2025-03-20T16:52:37.844" v="143"/>
          <ac:spMkLst>
            <pc:docMk/>
            <pc:sldMk cId="749523151" sldId="2147481866"/>
            <ac:spMk id="5" creationId="{D02A38F0-DFCD-E2A4-61F9-AB9DAF1415BD}"/>
          </ac:spMkLst>
        </pc:spChg>
        <pc:spChg chg="add del mod modVis">
          <ac:chgData name="Joseph, Tyler" userId="d95ade4d-0576-43d0-bb19-3f7a19f59750" providerId="ADAL" clId="{F2E02A07-7313-4654-B67B-8CA3524F80A2}" dt="2025-03-20T16:52:38.520" v="168"/>
          <ac:spMkLst>
            <pc:docMk/>
            <pc:sldMk cId="749523151" sldId="2147481866"/>
            <ac:spMk id="6" creationId="{9E204FE4-0099-5AE7-B935-8B1B28D0B580}"/>
          </ac:spMkLst>
        </pc:spChg>
        <pc:spChg chg="add del mod modVis">
          <ac:chgData name="Joseph, Tyler" userId="d95ade4d-0576-43d0-bb19-3f7a19f59750" providerId="ADAL" clId="{F2E02A07-7313-4654-B67B-8CA3524F80A2}" dt="2025-03-20T16:52:42.250" v="194"/>
          <ac:spMkLst>
            <pc:docMk/>
            <pc:sldMk cId="749523151" sldId="2147481866"/>
            <ac:spMk id="7" creationId="{3668CC74-6652-AA0E-4838-1E2FFFCD7479}"/>
          </ac:spMkLst>
        </pc:spChg>
        <pc:spChg chg="add del mod modVis">
          <ac:chgData name="Joseph, Tyler" userId="d95ade4d-0576-43d0-bb19-3f7a19f59750" providerId="ADAL" clId="{F2E02A07-7313-4654-B67B-8CA3524F80A2}" dt="2025-03-20T16:52:45.221" v="219"/>
          <ac:spMkLst>
            <pc:docMk/>
            <pc:sldMk cId="749523151" sldId="2147481866"/>
            <ac:spMk id="8" creationId="{B28F5276-A0DA-D59C-67D7-22BC19444535}"/>
          </ac:spMkLst>
        </pc:spChg>
        <pc:spChg chg="add del mod modVis">
          <ac:chgData name="Joseph, Tyler" userId="d95ade4d-0576-43d0-bb19-3f7a19f59750" providerId="ADAL" clId="{F2E02A07-7313-4654-B67B-8CA3524F80A2}" dt="2025-03-20T16:52:58.221" v="244"/>
          <ac:spMkLst>
            <pc:docMk/>
            <pc:sldMk cId="749523151" sldId="2147481866"/>
            <ac:spMk id="9" creationId="{3E93116E-8A4E-459B-F0A8-93204CF416C3}"/>
          </ac:spMkLst>
        </pc:spChg>
        <pc:spChg chg="add del mod modVis">
          <ac:chgData name="Joseph, Tyler" userId="d95ade4d-0576-43d0-bb19-3f7a19f59750" providerId="ADAL" clId="{F2E02A07-7313-4654-B67B-8CA3524F80A2}" dt="2025-03-20T16:52:58.909" v="269"/>
          <ac:spMkLst>
            <pc:docMk/>
            <pc:sldMk cId="749523151" sldId="2147481866"/>
            <ac:spMk id="12" creationId="{EE9BB9A9-F8F4-8D62-CFA1-8706AC6B07EE}"/>
          </ac:spMkLst>
        </pc:spChg>
        <pc:spChg chg="add del mod modVis">
          <ac:chgData name="Joseph, Tyler" userId="d95ade4d-0576-43d0-bb19-3f7a19f59750" providerId="ADAL" clId="{F2E02A07-7313-4654-B67B-8CA3524F80A2}" dt="2025-03-20T16:52:59.981" v="295"/>
          <ac:spMkLst>
            <pc:docMk/>
            <pc:sldMk cId="749523151" sldId="2147481866"/>
            <ac:spMk id="13" creationId="{14E78E50-FB12-76D6-6ED8-AD135D190088}"/>
          </ac:spMkLst>
        </pc:spChg>
        <pc:spChg chg="add del mod modVis">
          <ac:chgData name="Joseph, Tyler" userId="d95ade4d-0576-43d0-bb19-3f7a19f59750" providerId="ADAL" clId="{F2E02A07-7313-4654-B67B-8CA3524F80A2}" dt="2025-03-20T16:53:00.614" v="321"/>
          <ac:spMkLst>
            <pc:docMk/>
            <pc:sldMk cId="749523151" sldId="2147481866"/>
            <ac:spMk id="15" creationId="{CD26A2E8-56E6-14BB-8E64-54E40E007C3D}"/>
          </ac:spMkLst>
        </pc:spChg>
        <pc:spChg chg="mod">
          <ac:chgData name="Joseph, Tyler" userId="d95ade4d-0576-43d0-bb19-3f7a19f59750" providerId="ADAL" clId="{F2E02A07-7313-4654-B67B-8CA3524F80A2}" dt="2025-03-20T16:53:23.427" v="325" actId="207"/>
          <ac:spMkLst>
            <pc:docMk/>
            <pc:sldMk cId="749523151" sldId="2147481866"/>
            <ac:spMk id="18" creationId="{87CA717F-FEE4-F04F-6BD9-1A9001612321}"/>
          </ac:spMkLst>
        </pc:spChg>
        <pc:spChg chg="mod">
          <ac:chgData name="Joseph, Tyler" userId="d95ade4d-0576-43d0-bb19-3f7a19f59750" providerId="ADAL" clId="{F2E02A07-7313-4654-B67B-8CA3524F80A2}" dt="2025-03-20T16:53:15.780" v="324" actId="571"/>
          <ac:spMkLst>
            <pc:docMk/>
            <pc:sldMk cId="749523151" sldId="2147481866"/>
            <ac:spMk id="19" creationId="{C1DA6CF5-B215-9F87-80E0-62F200AE5113}"/>
          </ac:spMkLst>
        </pc:spChg>
        <pc:spChg chg="add mod">
          <ac:chgData name="Joseph, Tyler" userId="d95ade4d-0576-43d0-bb19-3f7a19f59750" providerId="ADAL" clId="{F2E02A07-7313-4654-B67B-8CA3524F80A2}" dt="2025-03-20T16:53:40.709" v="351" actId="207"/>
          <ac:spMkLst>
            <pc:docMk/>
            <pc:sldMk cId="749523151" sldId="2147481866"/>
            <ac:spMk id="20" creationId="{3A18A465-BF89-DD67-A230-3C9AE423EBB6}"/>
          </ac:spMkLst>
        </pc:spChg>
        <pc:spChg chg="mod">
          <ac:chgData name="Joseph, Tyler" userId="d95ade4d-0576-43d0-bb19-3f7a19f59750" providerId="ADAL" clId="{F2E02A07-7313-4654-B67B-8CA3524F80A2}" dt="2025-03-20T16:56:14.334" v="371" actId="207"/>
          <ac:spMkLst>
            <pc:docMk/>
            <pc:sldMk cId="749523151" sldId="2147481866"/>
            <ac:spMk id="94" creationId="{BAFEB66B-B506-DDEB-BE29-DABDF58F36AF}"/>
          </ac:spMkLst>
        </pc:spChg>
        <pc:grpChg chg="add mod">
          <ac:chgData name="Joseph, Tyler" userId="d95ade4d-0576-43d0-bb19-3f7a19f59750" providerId="ADAL" clId="{F2E02A07-7313-4654-B67B-8CA3524F80A2}" dt="2025-03-20T16:53:15.780" v="324" actId="571"/>
          <ac:grpSpMkLst>
            <pc:docMk/>
            <pc:sldMk cId="749523151" sldId="2147481866"/>
            <ac:grpSpMk id="17" creationId="{7C2429C3-ABBD-1946-DE8B-7F4818D8B3CD}"/>
          </ac:grpSpMkLst>
        </pc:grpChg>
        <pc:graphicFrameChg chg="del">
          <ac:chgData name="Joseph, Tyler" userId="d95ade4d-0576-43d0-bb19-3f7a19f59750" providerId="ADAL" clId="{F2E02A07-7313-4654-B67B-8CA3524F80A2}" dt="2025-03-20T16:52:35.950" v="106"/>
          <ac:graphicFrameMkLst>
            <pc:docMk/>
            <pc:sldMk cId="749523151" sldId="2147481866"/>
            <ac:graphicFrameMk id="3" creationId="{204AC448-9E99-7052-EA80-195A5C957934}"/>
          </ac:graphicFrameMkLst>
        </pc:graphicFrameChg>
        <pc:graphicFrameChg chg="mod">
          <ac:chgData name="Joseph, Tyler" userId="d95ade4d-0576-43d0-bb19-3f7a19f59750" providerId="ADAL" clId="{F2E02A07-7313-4654-B67B-8CA3524F80A2}" dt="2025-03-20T16:53:00.614" v="323"/>
          <ac:graphicFrameMkLst>
            <pc:docMk/>
            <pc:sldMk cId="749523151" sldId="2147481866"/>
            <ac:graphicFrameMk id="73" creationId="{B050BE20-C946-60B0-F3C8-34BF7169CB59}"/>
          </ac:graphicFrameMkLst>
        </pc:graphicFrameChg>
        <pc:cxnChg chg="mod">
          <ac:chgData name="Joseph, Tyler" userId="d95ade4d-0576-43d0-bb19-3f7a19f59750" providerId="ADAL" clId="{F2E02A07-7313-4654-B67B-8CA3524F80A2}" dt="2025-03-20T16:55:51.606" v="367" actId="208"/>
          <ac:cxnSpMkLst>
            <pc:docMk/>
            <pc:sldMk cId="749523151" sldId="2147481866"/>
            <ac:cxnSpMk id="44" creationId="{8308B50C-5C2B-6F42-98CA-894B681DE642}"/>
          </ac:cxnSpMkLst>
        </pc:cxnChg>
        <pc:cxnChg chg="mod">
          <ac:chgData name="Joseph, Tyler" userId="d95ade4d-0576-43d0-bb19-3f7a19f59750" providerId="ADAL" clId="{F2E02A07-7313-4654-B67B-8CA3524F80A2}" dt="2025-03-20T16:55:56.817" v="368" actId="208"/>
          <ac:cxnSpMkLst>
            <pc:docMk/>
            <pc:sldMk cId="749523151" sldId="2147481866"/>
            <ac:cxnSpMk id="46" creationId="{9D084372-0D6C-D9F5-84D3-A602C18C0CD3}"/>
          </ac:cxnSpMkLst>
        </pc:cxnChg>
        <pc:cxnChg chg="mod">
          <ac:chgData name="Joseph, Tyler" userId="d95ade4d-0576-43d0-bb19-3f7a19f59750" providerId="ADAL" clId="{F2E02A07-7313-4654-B67B-8CA3524F80A2}" dt="2025-03-20T16:56:05.467" v="370" actId="208"/>
          <ac:cxnSpMkLst>
            <pc:docMk/>
            <pc:sldMk cId="749523151" sldId="2147481866"/>
            <ac:cxnSpMk id="58" creationId="{5E3CA9DD-5C22-533B-AEBF-95258D7A0971}"/>
          </ac:cxnSpMkLst>
        </pc:cxnChg>
      </pc:sldChg>
      <pc:sldChg chg="addSp delSp modSp add del mod">
        <pc:chgData name="Joseph, Tyler" userId="d95ade4d-0576-43d0-bb19-3f7a19f59750" providerId="ADAL" clId="{F2E02A07-7313-4654-B67B-8CA3524F80A2}" dt="2025-03-20T17:14:54.117" v="1156" actId="20577"/>
        <pc:sldMkLst>
          <pc:docMk/>
          <pc:sldMk cId="3540615127" sldId="2147481867"/>
        </pc:sldMkLst>
        <pc:spChg chg="add del mod modVis">
          <ac:chgData name="Joseph, Tyler" userId="d95ade4d-0576-43d0-bb19-3f7a19f59750" providerId="ADAL" clId="{F2E02A07-7313-4654-B67B-8CA3524F80A2}" dt="2025-03-20T16:57:22.377" v="412"/>
          <ac:spMkLst>
            <pc:docMk/>
            <pc:sldMk cId="3540615127" sldId="2147481867"/>
            <ac:spMk id="2" creationId="{5E8D1F15-BE77-B94F-0DEE-338D0E9D8067}"/>
          </ac:spMkLst>
        </pc:spChg>
        <pc:spChg chg="add del mod modVis">
          <ac:chgData name="Joseph, Tyler" userId="d95ade4d-0576-43d0-bb19-3f7a19f59750" providerId="ADAL" clId="{F2E02A07-7313-4654-B67B-8CA3524F80A2}" dt="2025-03-20T16:57:23.945" v="442"/>
          <ac:spMkLst>
            <pc:docMk/>
            <pc:sldMk cId="3540615127" sldId="2147481867"/>
            <ac:spMk id="5" creationId="{DC19DE89-49DB-89CA-8CF7-8EAF0CAC3C50}"/>
          </ac:spMkLst>
        </pc:spChg>
        <pc:spChg chg="mod">
          <ac:chgData name="Joseph, Tyler" userId="d95ade4d-0576-43d0-bb19-3f7a19f59750" providerId="ADAL" clId="{F2E02A07-7313-4654-B67B-8CA3524F80A2}" dt="2025-03-20T17:03:28.263" v="571"/>
          <ac:spMkLst>
            <pc:docMk/>
            <pc:sldMk cId="3540615127" sldId="2147481867"/>
            <ac:spMk id="7" creationId="{18EC10AA-2B5C-D92E-AEB8-52A3A3FEF07E}"/>
          </ac:spMkLst>
        </pc:spChg>
        <pc:spChg chg="mod">
          <ac:chgData name="Joseph, Tyler" userId="d95ade4d-0576-43d0-bb19-3f7a19f59750" providerId="ADAL" clId="{F2E02A07-7313-4654-B67B-8CA3524F80A2}" dt="2025-03-20T17:13:15.439" v="1154" actId="20577"/>
          <ac:spMkLst>
            <pc:docMk/>
            <pc:sldMk cId="3540615127" sldId="2147481867"/>
            <ac:spMk id="9" creationId="{D8461A80-957E-D941-93B4-91A534F72F97}"/>
          </ac:spMkLst>
        </pc:spChg>
        <pc:spChg chg="mod">
          <ac:chgData name="Joseph, Tyler" userId="d95ade4d-0576-43d0-bb19-3f7a19f59750" providerId="ADAL" clId="{F2E02A07-7313-4654-B67B-8CA3524F80A2}" dt="2025-03-20T16:59:06.935" v="496" actId="20577"/>
          <ac:spMkLst>
            <pc:docMk/>
            <pc:sldMk cId="3540615127" sldId="2147481867"/>
            <ac:spMk id="23" creationId="{7D5B5C88-FD17-E89A-7F32-FCEA3360DBCB}"/>
          </ac:spMkLst>
        </pc:spChg>
        <pc:spChg chg="mod">
          <ac:chgData name="Joseph, Tyler" userId="d95ade4d-0576-43d0-bb19-3f7a19f59750" providerId="ADAL" clId="{F2E02A07-7313-4654-B67B-8CA3524F80A2}" dt="2025-03-20T16:57:23.909" v="421" actId="948"/>
          <ac:spMkLst>
            <pc:docMk/>
            <pc:sldMk cId="3540615127" sldId="2147481867"/>
            <ac:spMk id="25" creationId="{C1CDB45D-CC04-246E-FBF9-07A6F4CA8BEA}"/>
          </ac:spMkLst>
        </pc:spChg>
        <pc:spChg chg="mod">
          <ac:chgData name="Joseph, Tyler" userId="d95ade4d-0576-43d0-bb19-3f7a19f59750" providerId="ADAL" clId="{F2E02A07-7313-4654-B67B-8CA3524F80A2}" dt="2025-03-20T17:08:17.234" v="1094" actId="1035"/>
          <ac:spMkLst>
            <pc:docMk/>
            <pc:sldMk cId="3540615127" sldId="2147481867"/>
            <ac:spMk id="40" creationId="{61C39910-54BB-D939-2210-3157AE324A12}"/>
          </ac:spMkLst>
        </pc:spChg>
        <pc:grpChg chg="add mod">
          <ac:chgData name="Joseph, Tyler" userId="d95ade4d-0576-43d0-bb19-3f7a19f59750" providerId="ADAL" clId="{F2E02A07-7313-4654-B67B-8CA3524F80A2}" dt="2025-03-20T17:08:07.304" v="1091" actId="14100"/>
          <ac:grpSpMkLst>
            <pc:docMk/>
            <pc:sldMk cId="3540615127" sldId="2147481867"/>
            <ac:grpSpMk id="6" creationId="{8B5C7794-E652-1C32-5A20-2562807BF72F}"/>
          </ac:grpSpMkLst>
        </pc:grpChg>
        <pc:graphicFrameChg chg="del">
          <ac:chgData name="Joseph, Tyler" userId="d95ade4d-0576-43d0-bb19-3f7a19f59750" providerId="ADAL" clId="{F2E02A07-7313-4654-B67B-8CA3524F80A2}" dt="2025-03-20T16:57:22.377" v="410"/>
          <ac:graphicFrameMkLst>
            <pc:docMk/>
            <pc:sldMk cId="3540615127" sldId="2147481867"/>
            <ac:graphicFrameMk id="3" creationId="{2D48A61D-E895-A981-803C-408FA612BFCE}"/>
          </ac:graphicFrameMkLst>
        </pc:graphicFrameChg>
        <pc:graphicFrameChg chg="mod">
          <ac:chgData name="Joseph, Tyler" userId="d95ade4d-0576-43d0-bb19-3f7a19f59750" providerId="ADAL" clId="{F2E02A07-7313-4654-B67B-8CA3524F80A2}" dt="2025-03-20T16:57:23.946" v="444"/>
          <ac:graphicFrameMkLst>
            <pc:docMk/>
            <pc:sldMk cId="3540615127" sldId="2147481867"/>
            <ac:graphicFrameMk id="24" creationId="{0ADC5FD4-0B5D-E906-1788-A3D9552CD7CE}"/>
          </ac:graphicFrameMkLst>
        </pc:graphicFrameChg>
        <pc:graphicFrameChg chg="modGraphic">
          <ac:chgData name="Joseph, Tyler" userId="d95ade4d-0576-43d0-bb19-3f7a19f59750" providerId="ADAL" clId="{F2E02A07-7313-4654-B67B-8CA3524F80A2}" dt="2025-03-20T17:14:54.117" v="1156" actId="20577"/>
          <ac:graphicFrameMkLst>
            <pc:docMk/>
            <pc:sldMk cId="3540615127" sldId="2147481867"/>
            <ac:graphicFrameMk id="41" creationId="{D15AE042-CC7C-F87B-A310-55BCBCB98628}"/>
          </ac:graphicFrameMkLst>
        </pc:graphicFrameChg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1593951972" sldId="2147483349"/>
        </pc:sldMkLst>
      </pc:sldChg>
      <pc:sldChg chg="del">
        <pc:chgData name="Joseph, Tyler" userId="d95ade4d-0576-43d0-bb19-3f7a19f59750" providerId="ADAL" clId="{F2E02A07-7313-4654-B67B-8CA3524F80A2}" dt="2025-03-20T16:29:51.113" v="4" actId="47"/>
        <pc:sldMkLst>
          <pc:docMk/>
          <pc:sldMk cId="2907302084" sldId="2147483517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3170179150" sldId="2147483644"/>
        </pc:sldMkLst>
      </pc:sldChg>
      <pc:sldChg chg="del">
        <pc:chgData name="Joseph, Tyler" userId="d95ade4d-0576-43d0-bb19-3f7a19f59750" providerId="ADAL" clId="{F2E02A07-7313-4654-B67B-8CA3524F80A2}" dt="2025-03-20T16:29:46.878" v="0" actId="47"/>
        <pc:sldMkLst>
          <pc:docMk/>
          <pc:sldMk cId="1802010013" sldId="2147483647"/>
        </pc:sldMkLst>
      </pc:sldChg>
      <pc:sldMasterChg chg="delSldLayout">
        <pc:chgData name="Joseph, Tyler" userId="d95ade4d-0576-43d0-bb19-3f7a19f59750" providerId="ADAL" clId="{F2E02A07-7313-4654-B67B-8CA3524F80A2}" dt="2025-03-20T16:29:49.440" v="1" actId="47"/>
        <pc:sldMasterMkLst>
          <pc:docMk/>
          <pc:sldMasterMk cId="2766151473" sldId="2147485253"/>
        </pc:sldMasterMkLst>
        <pc:sldLayoutChg chg="del">
          <pc:chgData name="Joseph, Tyler" userId="d95ade4d-0576-43d0-bb19-3f7a19f59750" providerId="ADAL" clId="{F2E02A07-7313-4654-B67B-8CA3524F80A2}" dt="2025-03-20T16:29:49.440" v="1" actId="47"/>
          <pc:sldLayoutMkLst>
            <pc:docMk/>
            <pc:sldMasterMk cId="2766151473" sldId="2147485253"/>
            <pc:sldLayoutMk cId="770595076" sldId="2147485282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Arial" panose="020B0604020202020204" pitchFamily="34" charset="0"/>
              </a:rPr>
              <a:t>3/20/2025</a:t>
            </a:fld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Arial" panose="020B0604020202020204" pitchFamily="34" charset="0"/>
              </a:rPr>
              <a:t>‹#›</a:t>
            </a:fld>
            <a:endParaRPr lang="en-US" sz="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>
                <a:latin typeface="Arial" panose="020B0604020202020204" pitchFamily="34" charset="0"/>
              </a:rPr>
              <a:t>3/20/2025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0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959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D42FA2-3845-87D4-9944-89A9A1A3B9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D0ED9E-62D9-E4C2-46EA-A1D438BEA0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94E3AD-B5E6-5447-25F2-FED1B4BE82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2EDF3C-862F-729D-2E8A-8B79013C3B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2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9844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E1C6EB-5284-B1CA-90AC-F4F0F6FC8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CC6198-4070-E0DD-DF34-4FC4E33733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2325B6-9839-343D-CFB8-F351931435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7C5FE1-8CD4-BA3A-8688-18F41469FA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25700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5659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hemeOverride" Target="../theme/themeOverride2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hemeOverride" Target="../theme/themeOverride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4" Type="http://schemas.openxmlformats.org/officeDocument/2006/relationships/image" Target="../media/image2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4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4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Relationship Id="rId4" Type="http://schemas.openxmlformats.org/officeDocument/2006/relationships/image" Target="../media/image2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Relationship Id="rId4" Type="http://schemas.openxmlformats.org/officeDocument/2006/relationships/image" Target="../media/image2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4" Type="http://schemas.openxmlformats.org/officeDocument/2006/relationships/image" Target="../media/image2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1.bin"/><Relationship Id="rId4" Type="http://schemas.openxmlformats.org/officeDocument/2006/relationships/image" Target="../media/image18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oleObject" Target="../embeddings/oleObject82.bin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2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4" Type="http://schemas.openxmlformats.org/officeDocument/2006/relationships/image" Target="../media/image2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4" Type="http://schemas.openxmlformats.org/officeDocument/2006/relationships/image" Target="../media/image2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4" Type="http://schemas.openxmlformats.org/officeDocument/2006/relationships/image" Target="../media/image2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4" Type="http://schemas.openxmlformats.org/officeDocument/2006/relationships/image" Target="../media/image2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4" Type="http://schemas.openxmlformats.org/officeDocument/2006/relationships/image" Target="../media/image2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4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4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4" Type="http://schemas.openxmlformats.org/officeDocument/2006/relationships/image" Target="../media/image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2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776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B84FA7B-BB3A-4400-8381-22397327358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36181" y="5570643"/>
            <a:ext cx="1528693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98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CDA7A5-734A-4440-865C-448E07B4B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098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CDA7A5-734A-4440-865C-448E07B4B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492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58EC2D-857F-4211-8D7D-41AD1B9B8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048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8EC2D-857F-4211-8D7D-41AD1B9B8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602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78BA5F8-B7D0-42DA-A36E-E71424DED0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0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8BA5F8-B7D0-42DA-A36E-E71424DED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325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FBA628A-55F1-429E-8ED9-3B7392AA4A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40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BA628A-55F1-429E-8ED9-3B7392AA4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66862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18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5091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2CD81A-F4A8-41C3-A748-46E26F397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583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2CD81A-F4A8-41C3-A748-46E26F397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570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E0F0817-3C69-441A-AC5E-EFB3B53A75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02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0F0817-3C69-441A-AC5E-EFB3B53A7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5292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0D785F-4DFA-47EB-8CA6-4B6FDB9057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882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D785F-4DFA-47EB-8CA6-4B6FDB905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4355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96B768F-1B9D-4E7F-AB5B-6D7F4C4ED6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658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6B768F-1B9D-4E7F-AB5B-6D7F4C4ED6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8947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754A443-EC10-4175-895D-C34ABC927E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6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54A443-EC10-4175-895D-C34ABC927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A5BA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9224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3D1F182-580F-4E5A-909A-F301DEF6C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369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D1F182-580F-4E5A-909A-F301DEF6C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1282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910130-5364-4AA3-953F-13C86918F5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748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910130-5364-4AA3-953F-13C86918F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68549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09DC58-AD39-47B0-AB3A-D769CAC32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7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09DC58-AD39-47B0-AB3A-D769CAC32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7414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D2E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520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30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8064C93-0A6F-40CA-9574-9E4003178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126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064C93-0A6F-40CA-9574-9E4003178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1853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53AACBD-5029-4945-A144-9F0E86D55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9898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3AACBD-5029-4945-A144-9F0E86D55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7174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6AA18A0-1F45-4E0E-9BA0-98F2950BD7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78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AA18A0-1F45-4E0E-9BA0-98F2950BD7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37348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67DD0B-23EE-4E57-81D2-CF6013029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66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67DD0B-23EE-4E57-81D2-CF6013029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80A72C-E960-47BC-AF0F-3925417CF1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0883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431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CD4ED79-BA57-4033-89B7-80C384FDCAF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78924" y="2362985"/>
            <a:ext cx="3634154" cy="213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32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5264DAB-C821-4819-900D-BEB623B95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4365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264DAB-C821-4819-900D-BEB623B95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8126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91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773ED30-80C5-469D-A022-E5823542CF9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36181" y="5570643"/>
            <a:ext cx="1528693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82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317CD1E-9836-4DC3-A2D6-76D6130A2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15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17CD1E-9836-4DC3-A2D6-76D6130A2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>
                <a:solidFill>
                  <a:srgbClr val="1A5BA7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13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8E0D74F-4AD4-4D6B-89F0-588A99442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410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0D74F-4AD4-4D6B-89F0-588A99442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51054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CD0CC2-801F-4DD2-B2FD-072D742F51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40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CD0CC2-801F-4DD2-B2FD-072D742F5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1A5BA7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441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64BCB2-E075-4877-A5A1-5C69582C8B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025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64BCB2-E075-4877-A5A1-5C69582C8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2010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9852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1282E4-C304-4F65-8964-B88953219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03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1282E4-C304-4F65-8964-B88953219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50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7EEDCD-1BA1-4A95-A4B8-DBA4379A8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90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7EEDCD-1BA1-4A95-A4B8-DBA4379A8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1A5BA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91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082E18-7BF0-4427-8A62-B93B98AB56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29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82E18-7BF0-4427-8A62-B93B98AB5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3797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E23520A-6BE4-438C-9093-419D575DD6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205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23520A-6BE4-438C-9093-419D575DD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4863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0809427-03CB-4ECA-8C54-F4A2919AB5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788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809427-03CB-4ECA-8C54-F4A2919AB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37673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3B1E7F-5A58-4867-AC64-EAC294514F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53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3B1E7F-5A58-4867-AC64-EAC294514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226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93E522-D196-48C7-848D-C07840BB3B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94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93E522-D196-48C7-848D-C07840BB3B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23950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77BE46-38FE-4634-84BE-DA6B5C082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9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77BE46-38FE-4634-84BE-DA6B5C0822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1A5BA7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6151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013BA7-1671-4489-BF20-6DF71E6A1B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96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013BA7-1671-4489-BF20-6DF71E6A1B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4351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8409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4136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A481284-5BDC-458E-8CA0-4FC0716BF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66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481284-5BDC-458E-8CA0-4FC0716BF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481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FD7CFA-77A6-45DF-9CFF-73709C42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00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FD7CFA-77A6-45DF-9CFF-73709C42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357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50A355E-39BE-4268-B8D3-B3630E8A9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382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0A355E-39BE-4268-B8D3-B3630E8A9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7339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B82202B-6C40-444B-99F7-8C195574F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40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82202B-6C40-444B-99F7-8C195574F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3136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57E206-B6E1-4D22-9BF8-4FAC24A0A1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90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57E206-B6E1-4D22-9BF8-4FAC24A0A1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89963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F6BAF1-6D8D-4604-9D3A-F7259DE3F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64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F6BAF1-6D8D-4604-9D3A-F7259DE3F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861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4038837-BD26-4E1F-9348-503D6CE197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99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38837-BD26-4E1F-9348-503D6CE197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A5BA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4403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0B7405F-A5CC-4C5A-88C5-44E4443552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709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B7405F-A5CC-4C5A-88C5-44E444355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21925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E667EF-7E6B-4EEF-8700-1CBA83788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166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7EF-7E6B-4EEF-8700-1CBA83788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00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896E83A-2433-4E68-9C43-00A3D3DAB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383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96E83A-2433-4E68-9C43-00A3D3DAB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36547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D2E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135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49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2BB318E-EEEF-421B-B4B6-431A2B5BF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983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B318E-EEEF-421B-B4B6-431A2B5BF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6601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DC3EAE9-D72D-4DBE-861A-EA1BA8EA6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68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C3EAE9-D72D-4DBE-861A-EA1BA8EA6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1A5BA7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241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8D9C0E4-294D-4483-9FFB-27D58A4894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3059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9C0E4-294D-4483-9FFB-27D58A489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688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8E8FB14-A2EC-46B4-9540-921A65E2F8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95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E8FB14-A2EC-46B4-9540-921A65E2F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257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4CCBA48-CB2E-406F-900E-28CA930D57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34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CCBA48-CB2E-406F-900E-28CA930D5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9B611CD-2C50-42B9-BAED-13E0027D59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5CC28EA9-0211-480F-8A0C-F7FF15710B1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5FFB64-2090-40B3-A1D8-916569694D2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835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6622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3CE1EC0-8B8D-49B8-9569-8189D9E921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78924" y="2362985"/>
            <a:ext cx="3634154" cy="213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4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823D3E8-DE9C-4133-B3C4-3BF4467A1D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44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23D3E8-DE9C-4133-B3C4-3BF4467A1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963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55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79524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CF0CDD1-AA43-4B95-96AE-157AEDF56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85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F0CDD1-AA43-4B95-96AE-157AEDF56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324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435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994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123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8094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800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0269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734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1A5BA7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1A5BA7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8225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49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9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36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1A5BA7"/>
                </a:solidFill>
                <a:latin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1A5BA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48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62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3466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282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35571D-5A9E-4EC5-9451-2934D26C337F}"/>
              </a:ext>
            </a:extLst>
          </p:cNvPr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1A5BA7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198440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rkans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EEAE632-EC23-E879-BD62-7E89C2B6ED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627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EAE632-EC23-E879-BD62-7E89C2B6E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C9E2905-A25A-926B-1867-027F6F9223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008" y="457200"/>
            <a:ext cx="10397509" cy="2555630"/>
          </a:xfrm>
        </p:spPr>
        <p:txBody>
          <a:bodyPr vert="horz" anchor="b">
            <a:noAutofit/>
          </a:bodyPr>
          <a:lstStyle>
            <a:lvl1pPr>
              <a:defRPr sz="6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8216005-AD63-9CF6-B7F1-84BF771848E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86008" y="3313357"/>
            <a:ext cx="10397509" cy="2430952"/>
          </a:xfrm>
        </p:spPr>
        <p:txBody>
          <a:bodyPr numCol="2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50000"/>
              <a:buFont typeface="Wingdings" pitchFamily="2" charset="2"/>
              <a:buNone/>
              <a:defRPr sz="2400" b="0" i="0">
                <a:latin typeface="+mn-lt"/>
                <a:ea typeface="+mn-ea"/>
                <a:cs typeface="+mn-cs"/>
              </a:defRPr>
            </a:lvl1pPr>
            <a:lvl2pPr marL="36576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0" i="0">
                <a:latin typeface="+mn-lt"/>
                <a:ea typeface="+mn-ea"/>
                <a:cs typeface="+mn-cs"/>
              </a:defRPr>
            </a:lvl2pPr>
            <a:lvl3pPr marL="914400" indent="0">
              <a:lnSpc>
                <a:spcPct val="100000"/>
              </a:lnSpc>
              <a:spcAft>
                <a:spcPts val="600"/>
              </a:spcAft>
              <a:buNone/>
              <a:defRPr sz="1600" b="0" i="0">
                <a:latin typeface="+mn-lt"/>
                <a:ea typeface="+mn-ea"/>
                <a:cs typeface="+mn-cs"/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 b="0" i="0">
                <a:latin typeface="+mn-lt"/>
                <a:ea typeface="+mn-ea"/>
                <a:cs typeface="+mn-cs"/>
              </a:defRPr>
            </a:lvl4pPr>
            <a:lvl5pPr marL="1828800" indent="0">
              <a:lnSpc>
                <a:spcPct val="100000"/>
              </a:lnSpc>
              <a:buNone/>
              <a:defRPr sz="1400" b="0" i="0"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2275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US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AD92665-B561-06A6-3E7B-4B1A0E421B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859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D92665-B561-06A6-3E7B-4B1A0E421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D97C01-FFA9-1BA3-E4E1-5A758BC1CA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6008" y="457200"/>
            <a:ext cx="10397509" cy="2555630"/>
          </a:xfrm>
        </p:spPr>
        <p:txBody>
          <a:bodyPr vert="horz" anchor="b">
            <a:noAutofit/>
          </a:bodyPr>
          <a:lstStyle>
            <a:lvl1pPr>
              <a:defRPr sz="6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95817A-F08D-FF72-D164-827C5BEC622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86008" y="3313357"/>
            <a:ext cx="10397509" cy="2430952"/>
          </a:xfrm>
        </p:spPr>
        <p:txBody>
          <a:bodyPr numCol="2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50000"/>
              <a:buFont typeface="Wingdings" pitchFamily="2" charset="2"/>
              <a:buNone/>
              <a:defRPr sz="2400" b="0" i="0">
                <a:latin typeface="+mn-lt"/>
                <a:ea typeface="+mn-ea"/>
                <a:cs typeface="+mn-cs"/>
              </a:defRPr>
            </a:lvl1pPr>
            <a:lvl2pPr marL="36576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0" i="0">
                <a:latin typeface="+mn-lt"/>
                <a:ea typeface="+mn-ea"/>
                <a:cs typeface="+mn-cs"/>
              </a:defRPr>
            </a:lvl2pPr>
            <a:lvl3pPr marL="914400" indent="0">
              <a:lnSpc>
                <a:spcPct val="100000"/>
              </a:lnSpc>
              <a:spcAft>
                <a:spcPts val="600"/>
              </a:spcAft>
              <a:buNone/>
              <a:defRPr sz="1600" b="0" i="0">
                <a:latin typeface="+mn-lt"/>
                <a:ea typeface="+mn-ea"/>
                <a:cs typeface="+mn-cs"/>
              </a:defRPr>
            </a:lvl3pPr>
            <a:lvl4pPr marL="1371600" indent="0">
              <a:lnSpc>
                <a:spcPct val="100000"/>
              </a:lnSpc>
              <a:spcAft>
                <a:spcPts val="600"/>
              </a:spcAft>
              <a:buNone/>
              <a:defRPr sz="1400" b="0" i="0">
                <a:latin typeface="+mn-lt"/>
                <a:ea typeface="+mn-ea"/>
                <a:cs typeface="+mn-cs"/>
              </a:defRPr>
            </a:lvl4pPr>
            <a:lvl5pPr marL="1828800" indent="0">
              <a:lnSpc>
                <a:spcPct val="100000"/>
              </a:lnSpc>
              <a:buNone/>
              <a:defRPr sz="1400" b="0" i="0">
                <a:latin typeface="+mn-lt"/>
                <a:ea typeface="+mn-ea"/>
                <a:cs typeface="+mn-cs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95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EF85E5-E4AB-42D5-9819-CCF0CD433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525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EF85E5-E4AB-42D5-9819-CCF0CD433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48967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8162EB0-C554-F087-328C-8F9C17EEF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33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162EB0-C554-F087-328C-8F9C17EEF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264BDD-B6A2-5494-5CD4-BD97816319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000">
                <a:latin typeface="+mn-lt"/>
                <a:ea typeface="+mn-ea"/>
                <a:cs typeface="+mn-cs"/>
              </a:defRPr>
            </a:lvl1pPr>
            <a:lvl2pPr>
              <a:defRPr sz="2600">
                <a:latin typeface="+mn-lt"/>
                <a:ea typeface="+mn-ea"/>
                <a:cs typeface="+mn-cs"/>
              </a:defRPr>
            </a:lvl2pPr>
            <a:lvl3pPr>
              <a:defRPr sz="2400">
                <a:latin typeface="+mn-lt"/>
                <a:ea typeface="+mn-ea"/>
                <a:cs typeface="+mn-cs"/>
              </a:defRPr>
            </a:lvl3pPr>
            <a:lvl4pPr>
              <a:defRPr sz="2000">
                <a:latin typeface="+mn-lt"/>
                <a:ea typeface="+mn-ea"/>
                <a:cs typeface="+mn-cs"/>
              </a:defRPr>
            </a:lvl4pPr>
            <a:lvl5pPr>
              <a:defRPr sz="1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B93390C-C32C-8FF1-6E1A-865A2793A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CC1F8B5-9D85-523D-4C8B-79449EE5B9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724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l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9F9B6F9-CCD1-6126-928B-DF52B57E27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586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F9B6F9-CCD1-6126-928B-DF52B57E27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8D118E-D107-F82C-112C-7D0DFDDF84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141565"/>
            <a:ext cx="10515600" cy="2852737"/>
          </a:xfrm>
        </p:spPr>
        <p:txBody>
          <a:bodyPr vert="horz" anchor="b">
            <a:normAutofit/>
          </a:bodyPr>
          <a:lstStyle>
            <a:lvl1pPr algn="ctr">
              <a:defRPr sz="58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6D3696-967F-B191-F66F-B13F827CCB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21290"/>
            <a:ext cx="10515600" cy="1500187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F87052-FD95-17DD-E6C6-2C50953B59A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4861533" y="94919"/>
            <a:ext cx="2456233" cy="154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1192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lu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FE1EE65-0E36-FDA9-2130-A6E918D4C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075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E1EE65-0E36-FDA9-2130-A6E918D4C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14449B1-0A4A-A2A6-9752-C13F979AB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503ECE4-31EA-D0FD-D269-1E7F91568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141565"/>
            <a:ext cx="10515600" cy="2852737"/>
          </a:xfrm>
        </p:spPr>
        <p:txBody>
          <a:bodyPr vert="horz" anchor="b">
            <a:normAutofit/>
          </a:bodyPr>
          <a:lstStyle>
            <a:lvl1pPr algn="ctr">
              <a:defRPr sz="5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2A83015-9B1A-2089-EB92-C536C28DA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21290"/>
            <a:ext cx="10515600" cy="1500187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56810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06696F-4C98-A72A-1A41-2625F976AC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4391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06696F-4C98-A72A-1A41-2625F976AC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14449B1-0A4A-A2A6-9752-C13F979AB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C4C9A4C-719C-8F68-3B30-5C865B859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141565"/>
            <a:ext cx="10515600" cy="2852737"/>
          </a:xfrm>
        </p:spPr>
        <p:txBody>
          <a:bodyPr vert="horz" anchor="b">
            <a:normAutofit/>
          </a:bodyPr>
          <a:lstStyle>
            <a:lvl1pPr algn="ctr">
              <a:defRPr sz="5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6784835-5639-6399-12BB-6BDE4E61D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21290"/>
            <a:ext cx="10515600" cy="1500187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71125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Gray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7F44A95-2CB4-F30B-2510-E110FFB097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799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F44A95-2CB4-F30B-2510-E110FFB097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14449B1-0A4A-A2A6-9752-C13F979AB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A1DB4A7-F674-BEFD-0EF7-6B4138D22C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141565"/>
            <a:ext cx="10515600" cy="2852737"/>
          </a:xfrm>
        </p:spPr>
        <p:txBody>
          <a:bodyPr vert="horz" anchor="b">
            <a:normAutofit/>
          </a:bodyPr>
          <a:lstStyle>
            <a:lvl1pPr algn="ctr">
              <a:defRPr sz="5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972280F-D94E-F932-EBE9-C0AEA34E98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21290"/>
            <a:ext cx="10515600" cy="1500187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067628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mmerc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07AC00-FBA2-7F82-2E8B-10ABDE5EF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72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07AC00-FBA2-7F82-2E8B-10ABDE5EF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14449B1-0A4A-A2A6-9752-C13F979AB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401EB48-27F3-AF6C-9262-ECD24483DC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141565"/>
            <a:ext cx="10515600" cy="2852737"/>
          </a:xfrm>
        </p:spPr>
        <p:txBody>
          <a:bodyPr vert="horz" anchor="b">
            <a:normAutofit/>
          </a:bodyPr>
          <a:lstStyle>
            <a:lvl1pPr algn="ctr">
              <a:defRPr sz="5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2AB2E4-B943-36BB-F3A1-1D030D7683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21290"/>
            <a:ext cx="10515600" cy="1500187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3198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7A30B57-FDB1-3CB8-05B1-674604603F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356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A30B57-FDB1-3CB8-05B1-674604603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3E4C63-9807-FEAB-6485-89D3FEE691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D66AC0-74B0-B6AD-245A-B50272A549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82745"/>
            <a:ext cx="5181600" cy="4351338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itchFamily="2" charset="2"/>
              <a:buChar char="§"/>
              <a:defRPr sz="3000">
                <a:latin typeface="+mn-lt"/>
                <a:ea typeface="+mn-ea"/>
                <a:cs typeface="+mn-cs"/>
              </a:defRPr>
            </a:lvl1pPr>
            <a:lvl2pPr marL="685800" indent="-228600">
              <a:buClr>
                <a:schemeClr val="accent4"/>
              </a:buClr>
              <a:buFont typeface="Wingdings" pitchFamily="2" charset="2"/>
              <a:buChar char="§"/>
              <a:defRPr sz="2600">
                <a:latin typeface="+mn-lt"/>
                <a:ea typeface="+mn-ea"/>
                <a:cs typeface="+mn-cs"/>
              </a:defRPr>
            </a:lvl2pPr>
            <a:lvl3pPr marL="1143000" indent="-228600">
              <a:buClr>
                <a:schemeClr val="accent5"/>
              </a:buClr>
              <a:buFont typeface="Wingdings" pitchFamily="2" charset="2"/>
              <a:buChar char="§"/>
              <a:defRPr sz="2400">
                <a:latin typeface="+mn-lt"/>
                <a:ea typeface="+mn-ea"/>
                <a:cs typeface="+mn-cs"/>
              </a:defRPr>
            </a:lvl3pPr>
            <a:lvl4pPr marL="1600200" indent="-228600">
              <a:buClr>
                <a:schemeClr val="tx1"/>
              </a:buClr>
              <a:buFont typeface="Wingdings" pitchFamily="2" charset="2"/>
              <a:buChar char="§"/>
              <a:defRPr sz="2000">
                <a:latin typeface="+mn-lt"/>
                <a:ea typeface="+mn-ea"/>
                <a:cs typeface="+mn-cs"/>
              </a:defRPr>
            </a:lvl4pPr>
            <a:lvl5pPr marL="20574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B7BB62-23F3-5A84-C387-5C5FEF3DE9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82745"/>
            <a:ext cx="5181600" cy="4351338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itchFamily="2" charset="2"/>
              <a:buChar char="§"/>
              <a:defRPr sz="3000">
                <a:latin typeface="+mn-lt"/>
                <a:ea typeface="+mn-ea"/>
                <a:cs typeface="+mn-cs"/>
              </a:defRPr>
            </a:lvl1pPr>
            <a:lvl2pPr marL="685800" indent="-228600">
              <a:buClr>
                <a:schemeClr val="accent4"/>
              </a:buClr>
              <a:buFont typeface="Wingdings" pitchFamily="2" charset="2"/>
              <a:buChar char="§"/>
              <a:defRPr sz="2600">
                <a:latin typeface="+mn-lt"/>
                <a:ea typeface="+mn-ea"/>
                <a:cs typeface="+mn-cs"/>
              </a:defRPr>
            </a:lvl2pPr>
            <a:lvl3pPr marL="1143000" indent="-228600">
              <a:buClr>
                <a:schemeClr val="accent5"/>
              </a:buClr>
              <a:buFont typeface="Wingdings" pitchFamily="2" charset="2"/>
              <a:buChar char="§"/>
              <a:defRPr sz="2400">
                <a:latin typeface="+mn-lt"/>
                <a:ea typeface="+mn-ea"/>
                <a:cs typeface="+mn-cs"/>
              </a:defRPr>
            </a:lvl3pPr>
            <a:lvl4pPr marL="1600200" indent="-228600">
              <a:buClr>
                <a:schemeClr val="tx1"/>
              </a:buClr>
              <a:buFont typeface="Wingdings" pitchFamily="2" charset="2"/>
              <a:buChar char="§"/>
              <a:defRPr sz="2000">
                <a:latin typeface="+mn-lt"/>
                <a:ea typeface="+mn-ea"/>
                <a:cs typeface="+mn-cs"/>
              </a:defRPr>
            </a:lvl4pPr>
            <a:lvl5pPr marL="20574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10357F-29F9-7FFD-9E73-1155AC5286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009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DF92289-46BA-7C88-4AFC-0EA48B14FE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590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F92289-46BA-7C88-4AFC-0EA48B14FE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1F254A-5FA1-46E9-04D5-4F72E46CF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22245"/>
            <a:ext cx="10515600" cy="1325563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8A03A5-4F14-CC84-C3CC-F4A2220D9C5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538283"/>
            <a:ext cx="5157787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3200" b="1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9A88BE-9966-A07E-BB97-DA9FFED84D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362195"/>
            <a:ext cx="5157787" cy="3684588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itchFamily="2" charset="2"/>
              <a:buChar char="§"/>
              <a:defRPr>
                <a:latin typeface="+mn-lt"/>
                <a:ea typeface="+mn-ea"/>
                <a:cs typeface="+mn-cs"/>
              </a:defRPr>
            </a:lvl1pPr>
            <a:lvl2pPr marL="685800" indent="-228600">
              <a:buClr>
                <a:schemeClr val="accent4"/>
              </a:buClr>
              <a:buFont typeface="Wingdings" pitchFamily="2" charset="2"/>
              <a:buChar char="§"/>
              <a:defRPr>
                <a:latin typeface="+mn-lt"/>
                <a:ea typeface="+mn-ea"/>
                <a:cs typeface="+mn-cs"/>
              </a:defRPr>
            </a:lvl2pPr>
            <a:lvl3pPr marL="1143000" indent="-228600">
              <a:buClr>
                <a:schemeClr val="accent5"/>
              </a:buClr>
              <a:buFont typeface="Wingdings" pitchFamily="2" charset="2"/>
              <a:buChar char="§"/>
              <a:defRPr sz="2200">
                <a:latin typeface="+mn-lt"/>
                <a:ea typeface="+mn-ea"/>
                <a:cs typeface="+mn-cs"/>
              </a:defRPr>
            </a:lvl3pPr>
            <a:lvl4pPr marL="1600200" indent="-228600">
              <a:buClr>
                <a:schemeClr val="tx1"/>
              </a:buClr>
              <a:buFont typeface="Wingdings" pitchFamily="2" charset="2"/>
              <a:buChar char="§"/>
              <a:defRPr sz="2000">
                <a:latin typeface="+mn-lt"/>
                <a:ea typeface="+mn-ea"/>
                <a:cs typeface="+mn-cs"/>
              </a:defRPr>
            </a:lvl4pPr>
            <a:lvl5pPr marL="20574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2FEA8D-B903-7F40-B3B7-7A3FB570424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538283"/>
            <a:ext cx="5183188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3200" b="1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HEAD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8867D4F-A260-04A7-AE45-8F69B2EA2E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62195"/>
            <a:ext cx="5183188" cy="3684588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itchFamily="2" charset="2"/>
              <a:buChar char="§"/>
              <a:defRPr>
                <a:latin typeface="+mn-lt"/>
                <a:ea typeface="+mn-ea"/>
                <a:cs typeface="+mn-cs"/>
              </a:defRPr>
            </a:lvl1pPr>
            <a:lvl2pPr marL="685800" indent="-228600">
              <a:buClr>
                <a:schemeClr val="accent4"/>
              </a:buClr>
              <a:buFont typeface="Wingdings" pitchFamily="2" charset="2"/>
              <a:buChar char="§"/>
              <a:defRPr>
                <a:latin typeface="+mn-lt"/>
                <a:ea typeface="+mn-ea"/>
                <a:cs typeface="+mn-cs"/>
              </a:defRPr>
            </a:lvl2pPr>
            <a:lvl3pPr marL="1143000" indent="-228600">
              <a:buClr>
                <a:schemeClr val="accent5"/>
              </a:buClr>
              <a:buFont typeface="Wingdings" pitchFamily="2" charset="2"/>
              <a:buChar char="§"/>
              <a:defRPr sz="2200">
                <a:latin typeface="+mn-lt"/>
                <a:ea typeface="+mn-ea"/>
                <a:cs typeface="+mn-cs"/>
              </a:defRPr>
            </a:lvl3pPr>
            <a:lvl4pPr marL="1600200" indent="-228600">
              <a:buClr>
                <a:schemeClr val="tx1"/>
              </a:buClr>
              <a:buFont typeface="Wingdings" pitchFamily="2" charset="2"/>
              <a:buChar char="§"/>
              <a:defRPr sz="2000">
                <a:latin typeface="+mn-lt"/>
                <a:ea typeface="+mn-ea"/>
                <a:cs typeface="+mn-cs"/>
              </a:defRPr>
            </a:lvl4pPr>
            <a:lvl5pPr marL="20574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62AE9C2-57C6-AE11-2FD7-B033BCA27D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8435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EC00467-2AD7-1762-02CD-4E20160346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227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C00467-2AD7-1762-02CD-4E2016034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0568D1-0856-0639-1340-2283454E5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55E57E-88B1-BDF8-3C99-ADB2814771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2999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34D1420-A56F-D06F-9411-16D822F1D2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9363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4D1420-A56F-D06F-9411-16D822F1D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6D3696-967F-B191-F66F-B13F827CCB6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1690688"/>
            <a:ext cx="10515600" cy="126468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o evenly space logos, first select all images in a row. Next, select “Arrange &gt; Align &gt; Align Middle”, then select “Arrange &gt; Align &gt; Distribute Horizontally”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14449B1-0A4A-A2A6-9752-C13F979AB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50FF6EA-0FE1-FB50-25C7-EBC6AC1EFB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</p:spPr>
        <p:txBody>
          <a:bodyPr vert="horz">
            <a:normAutofit/>
          </a:bodyPr>
          <a:lstStyle>
            <a:lvl1pPr algn="ctr">
              <a:defRPr sz="60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Logos Slide Title</a:t>
            </a:r>
          </a:p>
        </p:txBody>
      </p:sp>
    </p:spTree>
    <p:extLst>
      <p:ext uri="{BB962C8B-B14F-4D97-AF65-F5344CB8AC3E}">
        <p14:creationId xmlns:p14="http://schemas.microsoft.com/office/powerpoint/2010/main" val="2294353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A7AEB6-FEC2-4F0E-99DE-C878DFED7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567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A7AEB6-FEC2-4F0E-99DE-C878DFED7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9458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estimoni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00991A1-2679-50B0-1ACB-1F46DB73E1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3820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0991A1-2679-50B0-1ACB-1F46DB73E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 7">
            <a:extLst>
              <a:ext uri="{FF2B5EF4-FFF2-40B4-BE49-F238E27FC236}">
                <a16:creationId xmlns:a16="http://schemas.microsoft.com/office/drawing/2014/main" id="{C38C0E9F-AE66-AC73-5880-BDB3409574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26588" y="4077535"/>
            <a:ext cx="1833562" cy="1500187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1A5EBD0D-8EB7-14E0-BE10-016A2E03C28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1850" y="744496"/>
            <a:ext cx="1824301" cy="15001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8D118E-D107-F82C-112C-7D0DFDDF84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6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quo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6D3696-967F-B191-F66F-B13F827CCB6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70275" y="4589463"/>
            <a:ext cx="5251450" cy="1500187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he source of the quot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14449B1-0A4A-A2A6-9752-C13F979AB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1402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 Stats -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550B372-F6E6-4DFE-B1BE-9E2B4CA1F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8733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50B372-F6E6-4DFE-B1BE-9E2B4CA1F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0568D1-0856-0639-1340-2283454E5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algn="ctr"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55E57E-88B1-BDF8-3C99-ADB2814771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F7E8265-BC2C-A693-E2BE-A24A377E7B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4589" y="4489821"/>
            <a:ext cx="3202822" cy="1325564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35D4221-77EA-43A9-667B-A822A92DC1A5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999530" y="4489821"/>
            <a:ext cx="3202822" cy="1325564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D55D0FC-42C9-349A-B499-DB2BA7F7E9F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7989648" y="4489821"/>
            <a:ext cx="3202822" cy="1325564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4ED091-A8F1-C19E-72D2-3133F9213ED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803381" y="2320709"/>
            <a:ext cx="1569739" cy="1567830"/>
          </a:xfrm>
        </p:spPr>
        <p:txBody>
          <a:bodyPr wrap="square" tIns="274320" bIns="0" anchor="ctr" anchorCtr="1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6000" b="0" i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1s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26B6521-3197-A177-16F6-DC1F8B0E7FC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298440" y="2320709"/>
            <a:ext cx="1569739" cy="1567830"/>
          </a:xfrm>
        </p:spPr>
        <p:txBody>
          <a:bodyPr tIns="274320" bIns="0" anchor="ctr" anchorCtr="1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6000" b="0" i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10M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9FDB326-97AD-2638-5958-92740964003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793499" y="2320709"/>
            <a:ext cx="1569739" cy="1567830"/>
          </a:xfrm>
        </p:spPr>
        <p:txBody>
          <a:bodyPr tIns="274320" bIns="0" anchor="ctr" anchorCtr="1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6000" b="0" i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3%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17801EA-02D9-C9AC-B290-1C13CE1932FC}"/>
              </a:ext>
            </a:extLst>
          </p:cNvPr>
          <p:cNvSpPr/>
          <p:nvPr userDrawn="1"/>
        </p:nvSpPr>
        <p:spPr>
          <a:xfrm>
            <a:off x="8583396" y="2149090"/>
            <a:ext cx="1989943" cy="1989943"/>
          </a:xfrm>
          <a:prstGeom prst="ellipse">
            <a:avLst/>
          </a:prstGeom>
          <a:noFill/>
          <a:ln w="101600" cmpd="sng">
            <a:solidFill>
              <a:schemeClr val="bg1">
                <a:alpha val="20000"/>
              </a:schemeClr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45616"/>
                      <a:gd name="connsiteY0" fmla="*/ 1022808 h 2045616"/>
                      <a:gd name="connsiteX1" fmla="*/ 1022808 w 2045616"/>
                      <a:gd name="connsiteY1" fmla="*/ 0 h 2045616"/>
                      <a:gd name="connsiteX2" fmla="*/ 2045616 w 2045616"/>
                      <a:gd name="connsiteY2" fmla="*/ 1022808 h 2045616"/>
                      <a:gd name="connsiteX3" fmla="*/ 1022808 w 2045616"/>
                      <a:gd name="connsiteY3" fmla="*/ 2045616 h 2045616"/>
                      <a:gd name="connsiteX4" fmla="*/ 0 w 2045616"/>
                      <a:gd name="connsiteY4" fmla="*/ 1022808 h 2045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45616" h="2045616" extrusionOk="0">
                        <a:moveTo>
                          <a:pt x="0" y="1022808"/>
                        </a:moveTo>
                        <a:cubicBezTo>
                          <a:pt x="-77323" y="410232"/>
                          <a:pt x="400905" y="21401"/>
                          <a:pt x="1022808" y="0"/>
                        </a:cubicBezTo>
                        <a:cubicBezTo>
                          <a:pt x="1609066" y="4500"/>
                          <a:pt x="2000157" y="459372"/>
                          <a:pt x="2045616" y="1022808"/>
                        </a:cubicBezTo>
                        <a:cubicBezTo>
                          <a:pt x="1972592" y="1659000"/>
                          <a:pt x="1585663" y="2056812"/>
                          <a:pt x="1022808" y="2045616"/>
                        </a:cubicBezTo>
                        <a:cubicBezTo>
                          <a:pt x="372359" y="1998800"/>
                          <a:pt x="20841" y="1597647"/>
                          <a:pt x="0" y="1022808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8000" b="1" i="0" baseline="3000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CE54488-E18B-EEC3-7943-E3841B061F11}"/>
              </a:ext>
            </a:extLst>
          </p:cNvPr>
          <p:cNvSpPr/>
          <p:nvPr userDrawn="1"/>
        </p:nvSpPr>
        <p:spPr>
          <a:xfrm>
            <a:off x="5088337" y="2162276"/>
            <a:ext cx="1989943" cy="1989943"/>
          </a:xfrm>
          <a:prstGeom prst="ellipse">
            <a:avLst/>
          </a:prstGeom>
          <a:noFill/>
          <a:ln w="101600" cmpd="sng">
            <a:solidFill>
              <a:schemeClr val="bg1">
                <a:alpha val="20000"/>
              </a:schemeClr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45616"/>
                      <a:gd name="connsiteY0" fmla="*/ 1022808 h 2045616"/>
                      <a:gd name="connsiteX1" fmla="*/ 1022808 w 2045616"/>
                      <a:gd name="connsiteY1" fmla="*/ 0 h 2045616"/>
                      <a:gd name="connsiteX2" fmla="*/ 2045616 w 2045616"/>
                      <a:gd name="connsiteY2" fmla="*/ 1022808 h 2045616"/>
                      <a:gd name="connsiteX3" fmla="*/ 1022808 w 2045616"/>
                      <a:gd name="connsiteY3" fmla="*/ 2045616 h 2045616"/>
                      <a:gd name="connsiteX4" fmla="*/ 0 w 2045616"/>
                      <a:gd name="connsiteY4" fmla="*/ 1022808 h 2045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45616" h="2045616" extrusionOk="0">
                        <a:moveTo>
                          <a:pt x="0" y="1022808"/>
                        </a:moveTo>
                        <a:cubicBezTo>
                          <a:pt x="-77323" y="410232"/>
                          <a:pt x="400905" y="21401"/>
                          <a:pt x="1022808" y="0"/>
                        </a:cubicBezTo>
                        <a:cubicBezTo>
                          <a:pt x="1609066" y="4500"/>
                          <a:pt x="2000157" y="459372"/>
                          <a:pt x="2045616" y="1022808"/>
                        </a:cubicBezTo>
                        <a:cubicBezTo>
                          <a:pt x="1972592" y="1659000"/>
                          <a:pt x="1585663" y="2056812"/>
                          <a:pt x="1022808" y="2045616"/>
                        </a:cubicBezTo>
                        <a:cubicBezTo>
                          <a:pt x="372359" y="1998800"/>
                          <a:pt x="20841" y="1597647"/>
                          <a:pt x="0" y="1022808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8000" b="1" i="0" baseline="3000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7B74A81-A02F-8C7A-1AC1-3F55249A7721}"/>
              </a:ext>
            </a:extLst>
          </p:cNvPr>
          <p:cNvSpPr/>
          <p:nvPr userDrawn="1"/>
        </p:nvSpPr>
        <p:spPr>
          <a:xfrm>
            <a:off x="1598190" y="2149090"/>
            <a:ext cx="1989943" cy="1989943"/>
          </a:xfrm>
          <a:prstGeom prst="ellipse">
            <a:avLst/>
          </a:prstGeom>
          <a:noFill/>
          <a:ln w="101600" cmpd="sng">
            <a:solidFill>
              <a:schemeClr val="bg1">
                <a:alpha val="20000"/>
              </a:schemeClr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45616"/>
                      <a:gd name="connsiteY0" fmla="*/ 1022808 h 2045616"/>
                      <a:gd name="connsiteX1" fmla="*/ 1022808 w 2045616"/>
                      <a:gd name="connsiteY1" fmla="*/ 0 h 2045616"/>
                      <a:gd name="connsiteX2" fmla="*/ 2045616 w 2045616"/>
                      <a:gd name="connsiteY2" fmla="*/ 1022808 h 2045616"/>
                      <a:gd name="connsiteX3" fmla="*/ 1022808 w 2045616"/>
                      <a:gd name="connsiteY3" fmla="*/ 2045616 h 2045616"/>
                      <a:gd name="connsiteX4" fmla="*/ 0 w 2045616"/>
                      <a:gd name="connsiteY4" fmla="*/ 1022808 h 2045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45616" h="2045616" extrusionOk="0">
                        <a:moveTo>
                          <a:pt x="0" y="1022808"/>
                        </a:moveTo>
                        <a:cubicBezTo>
                          <a:pt x="-77323" y="410232"/>
                          <a:pt x="400905" y="21401"/>
                          <a:pt x="1022808" y="0"/>
                        </a:cubicBezTo>
                        <a:cubicBezTo>
                          <a:pt x="1609066" y="4500"/>
                          <a:pt x="2000157" y="459372"/>
                          <a:pt x="2045616" y="1022808"/>
                        </a:cubicBezTo>
                        <a:cubicBezTo>
                          <a:pt x="1972592" y="1659000"/>
                          <a:pt x="1585663" y="2056812"/>
                          <a:pt x="1022808" y="2045616"/>
                        </a:cubicBezTo>
                        <a:cubicBezTo>
                          <a:pt x="372359" y="1998800"/>
                          <a:pt x="20841" y="1597647"/>
                          <a:pt x="0" y="1022808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8000" b="1" i="0" baseline="3000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90973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 Stats -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3BF435E-8E33-8A46-EED3-53F79A653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999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BF435E-8E33-8A46-EED3-53F79A653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0568D1-0856-0639-1340-2283454E5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algn="ctr"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55E57E-88B1-BDF8-3C99-ADB2814771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35D4221-77EA-43A9-667B-A822A92DC1A5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960331" y="4281102"/>
            <a:ext cx="2220116" cy="110505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4ED091-A8F1-C19E-72D2-3133F9213ED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416081" y="2409241"/>
            <a:ext cx="1308616" cy="1377085"/>
          </a:xfrm>
        </p:spPr>
        <p:txBody>
          <a:bodyPr tIns="274320" bIns="0" anchor="ctr" anchorCtr="1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5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1s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26B6521-3197-A177-16F6-DC1F8B0E7FC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093389" y="2409241"/>
            <a:ext cx="1308616" cy="1377085"/>
          </a:xfrm>
        </p:spPr>
        <p:txBody>
          <a:bodyPr tIns="274320" bIns="0" anchor="ctr" anchorCtr="1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5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10M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35B6474-FB59-A3FD-94DE-7CD3533AC2D4}"/>
              </a:ext>
            </a:extLst>
          </p:cNvPr>
          <p:cNvSpPr/>
          <p:nvPr userDrawn="1"/>
        </p:nvSpPr>
        <p:spPr>
          <a:xfrm>
            <a:off x="6539908" y="2255494"/>
            <a:ext cx="1770194" cy="1770194"/>
          </a:xfrm>
          <a:prstGeom prst="ellipse">
            <a:avLst/>
          </a:prstGeom>
          <a:noFill/>
          <a:ln w="101600" cmpd="sng">
            <a:solidFill>
              <a:schemeClr val="bg1">
                <a:alpha val="20000"/>
              </a:schemeClr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45616"/>
                      <a:gd name="connsiteY0" fmla="*/ 1022808 h 2045616"/>
                      <a:gd name="connsiteX1" fmla="*/ 1022808 w 2045616"/>
                      <a:gd name="connsiteY1" fmla="*/ 0 h 2045616"/>
                      <a:gd name="connsiteX2" fmla="*/ 2045616 w 2045616"/>
                      <a:gd name="connsiteY2" fmla="*/ 1022808 h 2045616"/>
                      <a:gd name="connsiteX3" fmla="*/ 1022808 w 2045616"/>
                      <a:gd name="connsiteY3" fmla="*/ 2045616 h 2045616"/>
                      <a:gd name="connsiteX4" fmla="*/ 0 w 2045616"/>
                      <a:gd name="connsiteY4" fmla="*/ 1022808 h 2045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45616" h="2045616" extrusionOk="0">
                        <a:moveTo>
                          <a:pt x="0" y="1022808"/>
                        </a:moveTo>
                        <a:cubicBezTo>
                          <a:pt x="-77323" y="410232"/>
                          <a:pt x="400905" y="21401"/>
                          <a:pt x="1022808" y="0"/>
                        </a:cubicBezTo>
                        <a:cubicBezTo>
                          <a:pt x="1609066" y="4500"/>
                          <a:pt x="2000157" y="459372"/>
                          <a:pt x="2045616" y="1022808"/>
                        </a:cubicBezTo>
                        <a:cubicBezTo>
                          <a:pt x="1972592" y="1659000"/>
                          <a:pt x="1585663" y="2056812"/>
                          <a:pt x="1022808" y="2045616"/>
                        </a:cubicBezTo>
                        <a:cubicBezTo>
                          <a:pt x="372359" y="1998800"/>
                          <a:pt x="20841" y="1597647"/>
                          <a:pt x="0" y="1022808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8000" b="1" i="0" baseline="3000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9FDB326-97AD-2638-5958-92740964003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70697" y="2409241"/>
            <a:ext cx="1308616" cy="1377085"/>
          </a:xfrm>
        </p:spPr>
        <p:txBody>
          <a:bodyPr tIns="274320" bIns="0" anchor="ctr" anchorCtr="1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5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3%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125EB58-CD6F-28F9-1A1F-6EC823DF0E67}"/>
              </a:ext>
            </a:extLst>
          </p:cNvPr>
          <p:cNvSpPr/>
          <p:nvPr userDrawn="1"/>
        </p:nvSpPr>
        <p:spPr>
          <a:xfrm>
            <a:off x="3862600" y="2268680"/>
            <a:ext cx="1770194" cy="1770194"/>
          </a:xfrm>
          <a:prstGeom prst="ellipse">
            <a:avLst/>
          </a:prstGeom>
          <a:noFill/>
          <a:ln w="101600" cmpd="sng">
            <a:solidFill>
              <a:schemeClr val="bg1">
                <a:alpha val="20000"/>
              </a:schemeClr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45616"/>
                      <a:gd name="connsiteY0" fmla="*/ 1022808 h 2045616"/>
                      <a:gd name="connsiteX1" fmla="*/ 1022808 w 2045616"/>
                      <a:gd name="connsiteY1" fmla="*/ 0 h 2045616"/>
                      <a:gd name="connsiteX2" fmla="*/ 2045616 w 2045616"/>
                      <a:gd name="connsiteY2" fmla="*/ 1022808 h 2045616"/>
                      <a:gd name="connsiteX3" fmla="*/ 1022808 w 2045616"/>
                      <a:gd name="connsiteY3" fmla="*/ 2045616 h 2045616"/>
                      <a:gd name="connsiteX4" fmla="*/ 0 w 2045616"/>
                      <a:gd name="connsiteY4" fmla="*/ 1022808 h 2045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45616" h="2045616" extrusionOk="0">
                        <a:moveTo>
                          <a:pt x="0" y="1022808"/>
                        </a:moveTo>
                        <a:cubicBezTo>
                          <a:pt x="-77323" y="410232"/>
                          <a:pt x="400905" y="21401"/>
                          <a:pt x="1022808" y="0"/>
                        </a:cubicBezTo>
                        <a:cubicBezTo>
                          <a:pt x="1609066" y="4500"/>
                          <a:pt x="2000157" y="459372"/>
                          <a:pt x="2045616" y="1022808"/>
                        </a:cubicBezTo>
                        <a:cubicBezTo>
                          <a:pt x="1972592" y="1659000"/>
                          <a:pt x="1585663" y="2056812"/>
                          <a:pt x="1022808" y="2045616"/>
                        </a:cubicBezTo>
                        <a:cubicBezTo>
                          <a:pt x="372359" y="1998800"/>
                          <a:pt x="20841" y="1597647"/>
                          <a:pt x="0" y="1022808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8000" b="1" i="0" baseline="3000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3AE88AE-E08F-447E-FCB4-622961E2E90C}"/>
              </a:ext>
            </a:extLst>
          </p:cNvPr>
          <p:cNvSpPr/>
          <p:nvPr userDrawn="1"/>
        </p:nvSpPr>
        <p:spPr>
          <a:xfrm>
            <a:off x="1185292" y="2255494"/>
            <a:ext cx="1770194" cy="1770194"/>
          </a:xfrm>
          <a:prstGeom prst="ellipse">
            <a:avLst/>
          </a:prstGeom>
          <a:noFill/>
          <a:ln w="101600" cmpd="sng">
            <a:solidFill>
              <a:schemeClr val="bg1">
                <a:alpha val="20000"/>
              </a:schemeClr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45616"/>
                      <a:gd name="connsiteY0" fmla="*/ 1022808 h 2045616"/>
                      <a:gd name="connsiteX1" fmla="*/ 1022808 w 2045616"/>
                      <a:gd name="connsiteY1" fmla="*/ 0 h 2045616"/>
                      <a:gd name="connsiteX2" fmla="*/ 2045616 w 2045616"/>
                      <a:gd name="connsiteY2" fmla="*/ 1022808 h 2045616"/>
                      <a:gd name="connsiteX3" fmla="*/ 1022808 w 2045616"/>
                      <a:gd name="connsiteY3" fmla="*/ 2045616 h 2045616"/>
                      <a:gd name="connsiteX4" fmla="*/ 0 w 2045616"/>
                      <a:gd name="connsiteY4" fmla="*/ 1022808 h 2045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45616" h="2045616" extrusionOk="0">
                        <a:moveTo>
                          <a:pt x="0" y="1022808"/>
                        </a:moveTo>
                        <a:cubicBezTo>
                          <a:pt x="-77323" y="410232"/>
                          <a:pt x="400905" y="21401"/>
                          <a:pt x="1022808" y="0"/>
                        </a:cubicBezTo>
                        <a:cubicBezTo>
                          <a:pt x="1609066" y="4500"/>
                          <a:pt x="2000157" y="459372"/>
                          <a:pt x="2045616" y="1022808"/>
                        </a:cubicBezTo>
                        <a:cubicBezTo>
                          <a:pt x="1972592" y="1659000"/>
                          <a:pt x="1585663" y="2056812"/>
                          <a:pt x="1022808" y="2045616"/>
                        </a:cubicBezTo>
                        <a:cubicBezTo>
                          <a:pt x="372359" y="1998800"/>
                          <a:pt x="20841" y="1597647"/>
                          <a:pt x="0" y="1022808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8000" b="1" i="0" baseline="3000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09C38D3-D3DA-82B3-6E2C-1939A927CEF9}"/>
              </a:ext>
            </a:extLst>
          </p:cNvPr>
          <p:cNvSpPr/>
          <p:nvPr userDrawn="1"/>
        </p:nvSpPr>
        <p:spPr>
          <a:xfrm>
            <a:off x="9211388" y="2255494"/>
            <a:ext cx="1770194" cy="1770194"/>
          </a:xfrm>
          <a:prstGeom prst="ellipse">
            <a:avLst/>
          </a:prstGeom>
          <a:noFill/>
          <a:ln w="101600" cmpd="sng">
            <a:solidFill>
              <a:schemeClr val="bg1">
                <a:alpha val="20000"/>
              </a:schemeClr>
            </a:solidFill>
            <a:prstDash val="soli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45616"/>
                      <a:gd name="connsiteY0" fmla="*/ 1022808 h 2045616"/>
                      <a:gd name="connsiteX1" fmla="*/ 1022808 w 2045616"/>
                      <a:gd name="connsiteY1" fmla="*/ 0 h 2045616"/>
                      <a:gd name="connsiteX2" fmla="*/ 2045616 w 2045616"/>
                      <a:gd name="connsiteY2" fmla="*/ 1022808 h 2045616"/>
                      <a:gd name="connsiteX3" fmla="*/ 1022808 w 2045616"/>
                      <a:gd name="connsiteY3" fmla="*/ 2045616 h 2045616"/>
                      <a:gd name="connsiteX4" fmla="*/ 0 w 2045616"/>
                      <a:gd name="connsiteY4" fmla="*/ 1022808 h 20456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45616" h="2045616" extrusionOk="0">
                        <a:moveTo>
                          <a:pt x="0" y="1022808"/>
                        </a:moveTo>
                        <a:cubicBezTo>
                          <a:pt x="-77323" y="410232"/>
                          <a:pt x="400905" y="21401"/>
                          <a:pt x="1022808" y="0"/>
                        </a:cubicBezTo>
                        <a:cubicBezTo>
                          <a:pt x="1609066" y="4500"/>
                          <a:pt x="2000157" y="459372"/>
                          <a:pt x="2045616" y="1022808"/>
                        </a:cubicBezTo>
                        <a:cubicBezTo>
                          <a:pt x="1972592" y="1659000"/>
                          <a:pt x="1585663" y="2056812"/>
                          <a:pt x="1022808" y="2045616"/>
                        </a:cubicBezTo>
                        <a:cubicBezTo>
                          <a:pt x="372359" y="1998800"/>
                          <a:pt x="20841" y="1597647"/>
                          <a:pt x="0" y="1022808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8000" b="1" i="0" baseline="3000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AC6B401-14F9-6863-8D13-B6924018B3C6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442177" y="2409241"/>
            <a:ext cx="1308616" cy="1377085"/>
          </a:xfrm>
        </p:spPr>
        <p:txBody>
          <a:bodyPr tIns="274320" bIns="0" anchor="ctr" anchorCtr="1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5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57K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360DDFF-BC34-4CAE-6C2E-6D374C2928BE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3637639" y="4281102"/>
            <a:ext cx="2220116" cy="110505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570C78E-E4C5-ABEB-0C69-80C0DEAA220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314947" y="4281102"/>
            <a:ext cx="2220116" cy="110505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66DF6F6-4F89-CE8C-3395-9F22523C9E49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986427" y="4281102"/>
            <a:ext cx="2220116" cy="1105059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59169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8AA94B4-7DB0-8BD6-C978-E2774FFFA2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664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AA94B4-7DB0-8BD6-C978-E2774FFFA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0BCAA1-67AD-52F2-ACC9-98993DA9C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07252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C52BE21-FE88-7C6B-8FF8-B9DC33D961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2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52BE21-FE88-7C6B-8FF8-B9DC33D961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65B4AE-A5FE-93F2-C1B6-95EEFF3D5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C479FF-DD4F-D5AA-043D-D322D2B8BF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571500" indent="-571500">
              <a:buClr>
                <a:schemeClr val="accent1"/>
              </a:buClr>
              <a:buFont typeface="Wingdings" pitchFamily="2" charset="2"/>
              <a:buChar char="§"/>
              <a:defRPr sz="3000">
                <a:latin typeface="+mn-lt"/>
                <a:ea typeface="+mn-ea"/>
                <a:cs typeface="+mn-cs"/>
              </a:defRPr>
            </a:lvl1pPr>
            <a:lvl2pPr marL="914400" indent="-457200">
              <a:buClr>
                <a:schemeClr val="accent4"/>
              </a:buClr>
              <a:buFont typeface="Wingdings" pitchFamily="2" charset="2"/>
              <a:buChar char="§"/>
              <a:defRPr sz="2600">
                <a:latin typeface="+mn-lt"/>
                <a:ea typeface="+mn-ea"/>
                <a:cs typeface="+mn-cs"/>
              </a:defRPr>
            </a:lvl2pPr>
            <a:lvl3pPr marL="1371600" indent="-457200">
              <a:buClr>
                <a:schemeClr val="accent5"/>
              </a:buClr>
              <a:buFont typeface="Wingdings" pitchFamily="2" charset="2"/>
              <a:buChar char="§"/>
              <a:defRPr sz="2400">
                <a:latin typeface="+mn-lt"/>
                <a:ea typeface="+mn-ea"/>
                <a:cs typeface="+mn-cs"/>
              </a:defRPr>
            </a:lvl3pPr>
            <a:lvl4pPr marL="1714500" indent="-342900">
              <a:buClr>
                <a:schemeClr val="accent3"/>
              </a:buClr>
              <a:buFont typeface="Wingdings" pitchFamily="2" charset="2"/>
              <a:buChar char="§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142A5E-0B01-675A-4741-C32D74D10B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E8B146-B9D1-CA15-7294-DA9DB80BD8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978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0BC6C97-4AA6-21CD-74B1-EAD092BDE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1547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BC6C97-4AA6-21CD-74B1-EAD092BDE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D97C01-FFA9-1BA3-E4E1-5A758BC1C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E19C72-5C04-6710-675D-2EBA8E6B55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95817A-F08D-FF72-D164-827C5BEC62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3457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kansas Map with P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456C09-AC4F-994A-5034-ECE4BD54D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8774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456C09-AC4F-994A-5034-ECE4BD54D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D97C01-FFA9-1BA3-E4E1-5A758BC1C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95817A-F08D-FF72-D164-827C5BEC62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2AFAE90-911C-A276-EAFF-0AFD877062A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02634" y="700087"/>
            <a:ext cx="6134100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2131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kansas Map with Pins -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7EFACC6-02CA-2C3B-3617-15B9D7D05C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8471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EFACC6-02CA-2C3B-3617-15B9D7D05C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2AFAE90-911C-A276-EAFF-0AFD877062A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178035" y="700087"/>
            <a:ext cx="6134100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2343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 Map with P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85614A-4B84-B5FF-E2B8-BE605B7AF2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6356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85614A-4B84-B5FF-E2B8-BE605B7AF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D97C01-FFA9-1BA3-E4E1-5A758BC1C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95817A-F08D-FF72-D164-827C5BEC62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D33547E-D149-8260-36CC-68657273595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72025" y="1408287"/>
            <a:ext cx="6987846" cy="4341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8436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 Map with Pins -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E7FC101-CEA0-6776-F794-6CE845BCAF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5231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FC101-CEA0-6776-F794-6CE845BCA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D33547E-D149-8260-36CC-68657273595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326821" y="533914"/>
            <a:ext cx="9319699" cy="579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024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2FDB510-EF43-4247-8261-00FBB5410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973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FDB510-EF43-4247-8261-00FBB5410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721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952CB9-91F6-0860-B9A4-8A671E9D65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4148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952CB9-91F6-0860-B9A4-8A671E9D65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D97C01-FFA9-1BA3-E4E1-5A758BC1C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2407503" cy="1600200"/>
          </a:xfrm>
        </p:spPr>
        <p:txBody>
          <a:bodyPr vert="horz" anchor="b">
            <a:norm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95817A-F08D-FF72-D164-827C5BEC62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2407503" cy="38115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7485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0DD77E1-B8BC-62B2-1E5A-6DACECEFF5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64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DD77E1-B8BC-62B2-1E5A-6DACECEFF5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834E4FD-CB3E-B667-589F-F07827474BB2}"/>
              </a:ext>
            </a:extLst>
          </p:cNvPr>
          <p:cNvSpPr/>
          <p:nvPr userDrawn="1"/>
        </p:nvSpPr>
        <p:spPr>
          <a:xfrm>
            <a:off x="6107723" y="0"/>
            <a:ext cx="6096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D97C01-FFA9-1BA3-E4E1-5A758BC1C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20081"/>
            <a:ext cx="4343400" cy="1997196"/>
          </a:xfrm>
        </p:spPr>
        <p:txBody>
          <a:bodyPr vert="horz" anchor="b">
            <a:normAutofit/>
          </a:bodyPr>
          <a:lstStyle>
            <a:lvl1pPr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95817A-F08D-FF72-D164-827C5BEC62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0" y="3429000"/>
            <a:ext cx="4343400" cy="1997197"/>
          </a:xfrm>
        </p:spPr>
        <p:txBody>
          <a:bodyPr numCol="1"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17549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3BB99AA-E526-2C37-83FB-450D4FFF0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9446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BB99AA-E526-2C37-83FB-450D4FFF0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834E4FD-CB3E-B667-589F-F07827474BB2}"/>
              </a:ext>
            </a:extLst>
          </p:cNvPr>
          <p:cNvSpPr/>
          <p:nvPr userDrawn="1"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D97C01-FFA9-1BA3-E4E1-5A758BC1C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56312"/>
            <a:ext cx="4114800" cy="4466492"/>
          </a:xfrm>
        </p:spPr>
        <p:txBody>
          <a:bodyPr vert="horz" anchor="ctr">
            <a:normAutofit/>
          </a:bodyPr>
          <a:lstStyle>
            <a:lvl1pPr>
              <a:lnSpc>
                <a:spcPct val="100000"/>
              </a:lnSpc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D9486CE-04AB-A96B-3353-75C3207F0763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7713780" y="1021573"/>
            <a:ext cx="3786553" cy="1202489"/>
          </a:xfrm>
        </p:spPr>
        <p:txBody>
          <a:bodyPr numCol="1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Statistic or facts about business, the workforce, education, quality of life, or Arkansas in general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0B441DC-3043-7D74-55DB-66B3F813ABB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7713781" y="2798586"/>
            <a:ext cx="3786553" cy="1202489"/>
          </a:xfrm>
        </p:spPr>
        <p:txBody>
          <a:bodyPr numCol="1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Right-click on icon, select “Change Graphic &gt; From Icons”. Search for a relevant icon, then select “Insert”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DF6F492-5C37-82B8-98FD-7F2989022901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7713782" y="4555051"/>
            <a:ext cx="3786552" cy="1202489"/>
          </a:xfrm>
        </p:spPr>
        <p:txBody>
          <a:bodyPr numCol="1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You can recolor the icons by selecting them, then using the paint bucket on the Home menu.</a:t>
            </a:r>
          </a:p>
        </p:txBody>
      </p:sp>
    </p:spTree>
    <p:extLst>
      <p:ext uri="{BB962C8B-B14F-4D97-AF65-F5344CB8AC3E}">
        <p14:creationId xmlns:p14="http://schemas.microsoft.com/office/powerpoint/2010/main" val="272313281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0F9EA18-1424-F94A-B5EC-6336617DD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278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F9EA18-1424-F94A-B5EC-6336617DD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834E4FD-CB3E-B667-589F-F07827474BB2}"/>
              </a:ext>
            </a:extLst>
          </p:cNvPr>
          <p:cNvSpPr/>
          <p:nvPr userDrawn="1"/>
        </p:nvSpPr>
        <p:spPr>
          <a:xfrm>
            <a:off x="0" y="5029199"/>
            <a:ext cx="12201939" cy="18288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D97C01-FFA9-1BA3-E4E1-5A758BC1C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948" y="5317435"/>
            <a:ext cx="9780104" cy="710362"/>
          </a:xfrm>
        </p:spPr>
        <p:txBody>
          <a:bodyPr vert="horz" anchor="b">
            <a:normAutofit/>
          </a:bodyPr>
          <a:lstStyle>
            <a:lvl1pPr algn="ctr">
              <a:defRPr sz="3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95817A-F08D-FF72-D164-827C5BEC622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937590" y="2812775"/>
            <a:ext cx="2888974" cy="1843419"/>
          </a:xfrm>
        </p:spPr>
        <p:txBody>
          <a:bodyPr numCol="1" anchor="t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Statistic or facts about business, the workforce, education, quality of life, or Arkansas in general.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45577-CAEF-BB5D-CF15-CA9E259A12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F4BD5D9-B6BF-EE68-1748-80F1A166DD51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51513" y="2812775"/>
            <a:ext cx="2888974" cy="1843419"/>
          </a:xfrm>
        </p:spPr>
        <p:txBody>
          <a:bodyPr numCol="1" anchor="t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Right-click on icon, select “Change Graphic &gt; From Icons”. Search for a relevant icon, then select “Insert”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CB77985-4D15-A5E6-2DE2-46088DBA72CC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8365436" y="2812775"/>
            <a:ext cx="2888974" cy="1843419"/>
          </a:xfrm>
        </p:spPr>
        <p:txBody>
          <a:bodyPr numCol="1" anchor="t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0" i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You can recolor the icons by selecting them, then using the paint bucket on the Home menu.</a:t>
            </a:r>
          </a:p>
        </p:txBody>
      </p:sp>
    </p:spTree>
    <p:extLst>
      <p:ext uri="{BB962C8B-B14F-4D97-AF65-F5344CB8AC3E}">
        <p14:creationId xmlns:p14="http://schemas.microsoft.com/office/powerpoint/2010/main" val="418923420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466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slideLayout" Target="../slideLayouts/slideLayout93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29" Type="http://schemas.openxmlformats.org/officeDocument/2006/relationships/tags" Target="../tags/tag76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oleObject" Target="../embeddings/oleObject6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280425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2081212"/>
            <a:ext cx="10934700" cy="4079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875570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1A5BA7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649224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600" kern="120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A5BA7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1A5BA7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1A5BA7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1A5BA7"/>
        </a:buClr>
        <a:buFont typeface="Arial" panose="020B0604020202020204" pitchFamily="34" charset="0"/>
        <a:buChar char="​"/>
        <a:defRPr lang="en-US" sz="2400" kern="1200" baseline="0" dirty="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7B498F-FC74-CC90-2327-3A29E45C51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607880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84" imgH="384" progId="TCLayout.ActiveDocument.1">
                  <p:embed/>
                </p:oleObj>
              </mc:Choice>
              <mc:Fallback>
                <p:oleObj name="think-cell Slide" r:id="rId30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7B498F-FC74-CC90-2327-3A29E45C51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AC14072-A2CE-D707-D242-4E51DFD09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224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335DF-EBDA-0E56-C62D-8272FE5716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8274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6A89EF-B88E-C2CD-5AD6-65789F080F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600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1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5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4" r:id="rId1"/>
    <p:sldLayoutId id="2147485255" r:id="rId2"/>
    <p:sldLayoutId id="2147485256" r:id="rId3"/>
    <p:sldLayoutId id="2147485257" r:id="rId4"/>
    <p:sldLayoutId id="2147485258" r:id="rId5"/>
    <p:sldLayoutId id="2147485259" r:id="rId6"/>
    <p:sldLayoutId id="2147485260" r:id="rId7"/>
    <p:sldLayoutId id="2147485261" r:id="rId8"/>
    <p:sldLayoutId id="2147485262" r:id="rId9"/>
    <p:sldLayoutId id="2147485263" r:id="rId10"/>
    <p:sldLayoutId id="2147485264" r:id="rId11"/>
    <p:sldLayoutId id="2147485265" r:id="rId12"/>
    <p:sldLayoutId id="2147485266" r:id="rId13"/>
    <p:sldLayoutId id="2147485267" r:id="rId14"/>
    <p:sldLayoutId id="2147485268" r:id="rId15"/>
    <p:sldLayoutId id="2147485269" r:id="rId16"/>
    <p:sldLayoutId id="2147485270" r:id="rId17"/>
    <p:sldLayoutId id="2147485271" r:id="rId18"/>
    <p:sldLayoutId id="2147485272" r:id="rId19"/>
    <p:sldLayoutId id="2147485273" r:id="rId20"/>
    <p:sldLayoutId id="2147485274" r:id="rId21"/>
    <p:sldLayoutId id="2147485275" r:id="rId22"/>
    <p:sldLayoutId id="2147485276" r:id="rId23"/>
    <p:sldLayoutId id="2147485277" r:id="rId24"/>
    <p:sldLayoutId id="2147485278" r:id="rId25"/>
    <p:sldLayoutId id="2147485279" r:id="rId26"/>
    <p:sldLayoutId id="2147485281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3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2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56">
          <p15:clr>
            <a:srgbClr val="F26B43"/>
          </p15:clr>
        </p15:guide>
        <p15:guide id="2" pos="528">
          <p15:clr>
            <a:srgbClr val="F26B43"/>
          </p15:clr>
        </p15:guide>
        <p15:guide id="3" pos="7152">
          <p15:clr>
            <a:srgbClr val="F26B43"/>
          </p15:clr>
        </p15:guide>
        <p15:guide id="4" orient="horz" pos="37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97.bin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05.xml"/><Relationship Id="rId4" Type="http://schemas.openxmlformats.org/officeDocument/2006/relationships/image" Target="../media/image2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30.xml"/><Relationship Id="rId7" Type="http://schemas.openxmlformats.org/officeDocument/2006/relationships/oleObject" Target="../embeddings/oleObject97.bin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.xml"/><Relationship Id="rId7" Type="http://schemas.openxmlformats.org/officeDocument/2006/relationships/image" Target="../media/image6.emf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oleObject" Target="../embeddings/oleObject97.bin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0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10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0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11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0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E3673E9-A138-4CD1-AA06-8E5F318A8E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9" imgH="396" progId="TCLayout.ActiveDocument.1">
                  <p:embed/>
                </p:oleObj>
              </mc:Choice>
              <mc:Fallback>
                <p:oleObj name="think-cell Slide" r:id="rId5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3673E9-A138-4CD1-AA06-8E5F318A8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720A33-A5FA-4CAB-BD6E-99A125F866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rch 21, 2025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C1DC923-2309-431F-B6F5-213D3AC361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Infrastructure Roundtable - Technical Assista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755B69-E715-4728-B9D3-C4640AA1A2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415" y="1886242"/>
            <a:ext cx="9366498" cy="3138423"/>
          </a:xfrm>
        </p:spPr>
        <p:txBody>
          <a:bodyPr vert="horz"/>
          <a:lstStyle/>
          <a:p>
            <a:r>
              <a:rPr lang="en-US"/>
              <a:t>The Arkansas </a:t>
            </a:r>
            <a:br>
              <a:rPr lang="en-US"/>
            </a:br>
            <a:r>
              <a:rPr lang="en-US"/>
              <a:t>BEAD Program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5AEBCBC-A0E7-EED4-72C9-875365A74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100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9" imgH="396" progId="TCLayout.ActiveDocument.1">
                  <p:embed/>
                </p:oleObj>
              </mc:Choice>
              <mc:Fallback>
                <p:oleObj name="think-cell Slide" r:id="rId7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AEBCBC-A0E7-EED4-72C9-875365A74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3161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think-cell data - do not delete" hidden="1">
            <a:extLst>
              <a:ext uri="{FF2B5EF4-FFF2-40B4-BE49-F238E27FC236}">
                <a16:creationId xmlns:a16="http://schemas.microsoft.com/office/drawing/2014/main" id="{B050BE20-C946-60B0-F3C8-34BF7169C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006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7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50BE20-C946-60B0-F3C8-34BF7169C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F6951E0-7061-88A9-CB09-5AC37551FFDF}"/>
              </a:ext>
            </a:extLst>
          </p:cNvPr>
          <p:cNvCxnSpPr>
            <a:cxnSpLocks/>
          </p:cNvCxnSpPr>
          <p:nvPr/>
        </p:nvCxnSpPr>
        <p:spPr>
          <a:xfrm flipV="1">
            <a:off x="10991695" y="3775579"/>
            <a:ext cx="0" cy="50943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53192D-12C7-BE8B-B04E-7314B8C7C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Recall | </a:t>
            </a:r>
            <a:r>
              <a:rPr lang="en-US" dirty="0">
                <a:solidFill>
                  <a:schemeClr val="tx2"/>
                </a:solidFill>
              </a:rPr>
              <a:t>Overview of Arkansas' approach to achieving 100% cover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EBE8EB2-1DED-6BAE-1CE2-F5F2BFD6A99E}"/>
              </a:ext>
            </a:extLst>
          </p:cNvPr>
          <p:cNvSpPr/>
          <p:nvPr/>
        </p:nvSpPr>
        <p:spPr>
          <a:xfrm>
            <a:off x="610400" y="3486378"/>
            <a:ext cx="10952945" cy="42845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E3CA9DD-5C22-533B-AEBF-95258D7A0971}"/>
              </a:ext>
            </a:extLst>
          </p:cNvPr>
          <p:cNvCxnSpPr>
            <a:cxnSpLocks/>
          </p:cNvCxnSpPr>
          <p:nvPr/>
        </p:nvCxnSpPr>
        <p:spPr>
          <a:xfrm>
            <a:off x="5431583" y="3196647"/>
            <a:ext cx="0" cy="430860"/>
          </a:xfrm>
          <a:prstGeom prst="line">
            <a:avLst/>
          </a:prstGeom>
          <a:ln w="9525" cap="rnd">
            <a:solidFill>
              <a:srgbClr val="00B050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9F21F19-1E67-3911-782F-70482EFAFE40}"/>
              </a:ext>
            </a:extLst>
          </p:cNvPr>
          <p:cNvCxnSpPr>
            <a:cxnSpLocks/>
          </p:cNvCxnSpPr>
          <p:nvPr/>
        </p:nvCxnSpPr>
        <p:spPr>
          <a:xfrm flipV="1">
            <a:off x="7284953" y="3775579"/>
            <a:ext cx="0" cy="50943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BAFEB66B-B506-DDEB-BE29-DABDF58F36AF}"/>
              </a:ext>
            </a:extLst>
          </p:cNvPr>
          <p:cNvSpPr/>
          <p:nvPr/>
        </p:nvSpPr>
        <p:spPr>
          <a:xfrm>
            <a:off x="4298970" y="1613197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00B050"/>
                </a:solidFill>
              </a:rPr>
              <a:t>Partial Award Eligible Outreach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ontact sole bidders on partial award eligible </a:t>
            </a:r>
            <a:r>
              <a:rPr lang="en-US" sz="1400" dirty="0" err="1">
                <a:solidFill>
                  <a:schemeClr val="tx1"/>
                </a:solidFill>
              </a:rPr>
              <a:t>CBGs</a:t>
            </a:r>
            <a:endParaRPr lang="en-US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Offer prorated subsidies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8089C9D-9E37-2E2E-5650-78A51601180B}"/>
              </a:ext>
            </a:extLst>
          </p:cNvPr>
          <p:cNvSpPr/>
          <p:nvPr/>
        </p:nvSpPr>
        <p:spPr>
          <a:xfrm>
            <a:off x="7244264" y="1613197"/>
            <a:ext cx="2846435" cy="1571801"/>
          </a:xfrm>
          <a:prstGeom prst="rect">
            <a:avLst/>
          </a:prstGeom>
          <a:noFill/>
          <a:ln w="12700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1A5BA7"/>
                </a:solidFill>
              </a:rPr>
              <a:t>Tranche-3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Final Tranche of bidding for all remaining CBG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Open to all pre-registra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Alternative technology eligible for selection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FC213C8-75CA-B702-1737-7D8997087C28}"/>
              </a:ext>
            </a:extLst>
          </p:cNvPr>
          <p:cNvSpPr/>
          <p:nvPr/>
        </p:nvSpPr>
        <p:spPr>
          <a:xfrm>
            <a:off x="1353676" y="1613197"/>
            <a:ext cx="2846435" cy="1571801"/>
          </a:xfrm>
          <a:prstGeom prst="rect">
            <a:avLst/>
          </a:prstGeom>
          <a:noFill/>
          <a:ln w="12700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1A5BA7"/>
                </a:solidFill>
              </a:rPr>
              <a:t>Close Tranche-2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Score and adjudicat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Announce and communicate preliminary result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1679186-3B51-F22A-A770-CFFE2D632F37}"/>
              </a:ext>
            </a:extLst>
          </p:cNvPr>
          <p:cNvSpPr/>
          <p:nvPr/>
        </p:nvSpPr>
        <p:spPr>
          <a:xfrm>
            <a:off x="2826323" y="4285014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575757"/>
                </a:solidFill>
              </a:rPr>
              <a:t>ULFW Claims Window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Contact ULFW providers that have capacity to deliver service meeting the BEAD Program's technical requirements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cs typeface="Arial"/>
              </a:rPr>
              <a:t>7-day window</a:t>
            </a:r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376F9DC-7C95-62A3-EB08-3FAC0837C36D}"/>
              </a:ext>
            </a:extLst>
          </p:cNvPr>
          <p:cNvSpPr/>
          <p:nvPr/>
        </p:nvSpPr>
        <p:spPr>
          <a:xfrm>
            <a:off x="5771617" y="4285014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err="1">
                <a:solidFill>
                  <a:srgbClr val="575757"/>
                </a:solidFill>
              </a:rPr>
              <a:t>ULFW</a:t>
            </a:r>
            <a:r>
              <a:rPr lang="en-US" sz="1400" b="1">
                <a:solidFill>
                  <a:srgbClr val="575757"/>
                </a:solidFill>
              </a:rPr>
              <a:t> Evidence Wind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quest evidence for claimed </a:t>
            </a:r>
            <a:r>
              <a:rPr lang="en-US" sz="1400" err="1">
                <a:solidFill>
                  <a:schemeClr val="tx1"/>
                </a:solidFill>
              </a:rPr>
              <a:t>ULFW</a:t>
            </a:r>
            <a:r>
              <a:rPr lang="en-US" sz="1400">
                <a:solidFill>
                  <a:schemeClr val="tx1"/>
                </a:solidFill>
              </a:rPr>
              <a:t> lo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30-day window 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85FFB4A7-BAD5-F9AB-D9C1-139780F658F0}"/>
              </a:ext>
            </a:extLst>
          </p:cNvPr>
          <p:cNvCxnSpPr>
            <a:cxnSpLocks/>
          </p:cNvCxnSpPr>
          <p:nvPr/>
        </p:nvCxnSpPr>
        <p:spPr>
          <a:xfrm>
            <a:off x="1734675" y="3196647"/>
            <a:ext cx="0" cy="43086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EA6DADC-C282-9243-9AE5-E8B6668C82DC}"/>
              </a:ext>
            </a:extLst>
          </p:cNvPr>
          <p:cNvCxnSpPr>
            <a:cxnSpLocks/>
          </p:cNvCxnSpPr>
          <p:nvPr/>
        </p:nvCxnSpPr>
        <p:spPr>
          <a:xfrm>
            <a:off x="9138322" y="3196647"/>
            <a:ext cx="0" cy="43086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08C3AB23-3499-EE5F-43C5-EF49441BF74D}"/>
              </a:ext>
            </a:extLst>
          </p:cNvPr>
          <p:cNvCxnSpPr>
            <a:cxnSpLocks/>
          </p:cNvCxnSpPr>
          <p:nvPr/>
        </p:nvCxnSpPr>
        <p:spPr>
          <a:xfrm flipV="1">
            <a:off x="3578213" y="3775787"/>
            <a:ext cx="0" cy="50943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78E107B-4047-0B04-4BE0-5868A862D12D}"/>
              </a:ext>
            </a:extLst>
          </p:cNvPr>
          <p:cNvGrpSpPr/>
          <p:nvPr/>
        </p:nvGrpSpPr>
        <p:grpSpPr>
          <a:xfrm>
            <a:off x="1724843" y="3440040"/>
            <a:ext cx="0" cy="521126"/>
            <a:chOff x="10224431" y="4471834"/>
            <a:chExt cx="0" cy="521126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8E64581-788F-349F-BDE1-2034925573B1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57AA8CB-8D82-442E-355C-807F2A50B83F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5ABB41B-5CC6-8EAD-94CD-F57C7E42C4C6}"/>
              </a:ext>
            </a:extLst>
          </p:cNvPr>
          <p:cNvGrpSpPr/>
          <p:nvPr/>
        </p:nvGrpSpPr>
        <p:grpSpPr>
          <a:xfrm>
            <a:off x="10991694" y="3440040"/>
            <a:ext cx="0" cy="521126"/>
            <a:chOff x="10224431" y="4471834"/>
            <a:chExt cx="0" cy="52112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57F18A06-865B-70CB-F870-390D7DB545EF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083C80B-2860-D33D-B2FA-4153288144D6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9956FEA-FCBD-9500-0397-15081D78D7BE}"/>
              </a:ext>
            </a:extLst>
          </p:cNvPr>
          <p:cNvGrpSpPr/>
          <p:nvPr/>
        </p:nvGrpSpPr>
        <p:grpSpPr>
          <a:xfrm>
            <a:off x="3578213" y="3440040"/>
            <a:ext cx="0" cy="521126"/>
            <a:chOff x="10224431" y="4471834"/>
            <a:chExt cx="0" cy="521126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3823CF28-F143-F5DF-0900-9AC7009BE137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2B1C54F6-BA73-0EE7-6279-36BA1D7D30C2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626E63C-C321-5D4E-9790-A1D428E86AE3}"/>
              </a:ext>
            </a:extLst>
          </p:cNvPr>
          <p:cNvGrpSpPr/>
          <p:nvPr/>
        </p:nvGrpSpPr>
        <p:grpSpPr>
          <a:xfrm>
            <a:off x="5431583" y="3440040"/>
            <a:ext cx="0" cy="521126"/>
            <a:chOff x="10224431" y="4471834"/>
            <a:chExt cx="0" cy="521126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308B50C-5C2B-6F42-98CA-894B681DE642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9D084372-0D6C-D9F5-84D3-A602C18C0CD3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>
              <a:solidFill>
                <a:srgbClr val="00B050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052A568-F4F3-40E3-CC76-482F0A20D859}"/>
              </a:ext>
            </a:extLst>
          </p:cNvPr>
          <p:cNvGrpSpPr/>
          <p:nvPr/>
        </p:nvGrpSpPr>
        <p:grpSpPr>
          <a:xfrm>
            <a:off x="7284953" y="3440040"/>
            <a:ext cx="0" cy="521126"/>
            <a:chOff x="10224431" y="4471834"/>
            <a:chExt cx="0" cy="521126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4788F07-664E-0B98-3826-F93D0CD098BE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3A08C454-169B-2D1E-14A3-8DA7D246CB34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8E8344D-B2F5-73A9-9420-B19C0A9E4B42}"/>
              </a:ext>
            </a:extLst>
          </p:cNvPr>
          <p:cNvGrpSpPr/>
          <p:nvPr/>
        </p:nvGrpSpPr>
        <p:grpSpPr>
          <a:xfrm>
            <a:off x="9138323" y="3440040"/>
            <a:ext cx="0" cy="521126"/>
            <a:chOff x="10224431" y="4471834"/>
            <a:chExt cx="0" cy="52112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964FA92-F015-E9AD-FFE6-994ED765CB1F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685C227B-567B-DF8B-DD34-4589046963D2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2131FAF8-169E-CAEA-B696-54DBFFF9CF27}"/>
              </a:ext>
            </a:extLst>
          </p:cNvPr>
          <p:cNvSpPr/>
          <p:nvPr/>
        </p:nvSpPr>
        <p:spPr>
          <a:xfrm>
            <a:off x="8716911" y="4285014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575757"/>
                </a:solidFill>
              </a:rPr>
              <a:t>ULFW Determination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valuate ULFW evidence 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move from alt-tech projects any locations sufficiently claimed by ULFW</a:t>
            </a:r>
          </a:p>
          <a:p>
            <a:endParaRPr lang="en-US" sz="1400">
              <a:solidFill>
                <a:schemeClr val="tx1"/>
              </a:solidFill>
              <a:cs typeface="Arial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B282055-03EB-87AE-4FF7-A53A83A46265}"/>
              </a:ext>
            </a:extLst>
          </p:cNvPr>
          <p:cNvSpPr/>
          <p:nvPr/>
        </p:nvSpPr>
        <p:spPr>
          <a:xfrm>
            <a:off x="2826323" y="5947117"/>
            <a:ext cx="8737022" cy="364540"/>
          </a:xfrm>
          <a:prstGeom prst="roundRect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rgbClr val="575757"/>
                </a:solidFill>
              </a:rPr>
              <a:t>Per NTIA guidance, before selecting alternative technology subgrantees, eligible entities must identify any </a:t>
            </a:r>
            <a:r>
              <a:rPr lang="en-US" sz="1100" err="1">
                <a:solidFill>
                  <a:srgbClr val="575757"/>
                </a:solidFill>
              </a:rPr>
              <a:t>BSLs</a:t>
            </a:r>
            <a:r>
              <a:rPr lang="en-US" sz="1100">
                <a:solidFill>
                  <a:srgbClr val="575757"/>
                </a:solidFill>
              </a:rPr>
              <a:t> in the project area already served by an </a:t>
            </a:r>
            <a:r>
              <a:rPr lang="en-US" sz="1100" err="1">
                <a:solidFill>
                  <a:srgbClr val="575757"/>
                </a:solidFill>
              </a:rPr>
              <a:t>ULFW</a:t>
            </a:r>
            <a:r>
              <a:rPr lang="en-US" sz="1100">
                <a:solidFill>
                  <a:srgbClr val="575757"/>
                </a:solidFill>
              </a:rPr>
              <a:t> provider that has the capacity to deliver service meeting the BEAD program's technical requirements</a:t>
            </a:r>
            <a:r>
              <a:rPr lang="en-US" sz="1100" baseline="30000">
                <a:solidFill>
                  <a:srgbClr val="575757"/>
                </a:solidFill>
              </a:rPr>
              <a:t>1</a:t>
            </a:r>
          </a:p>
        </p:txBody>
      </p:sp>
      <p:sp>
        <p:nvSpPr>
          <p:cNvPr id="11" name="ee4pFootnotes">
            <a:extLst>
              <a:ext uri="{FF2B5EF4-FFF2-40B4-BE49-F238E27FC236}">
                <a16:creationId xmlns:a16="http://schemas.microsoft.com/office/drawing/2014/main" id="{EC4A535C-CA1A-064A-D076-024F7F484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530203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1. BEAD Program: Alternative Broadband Technology Policy Noti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51B7-DCAC-3A55-A0A3-5B0D83902E67}"/>
              </a:ext>
            </a:extLst>
          </p:cNvPr>
          <p:cNvSpPr/>
          <p:nvPr/>
        </p:nvSpPr>
        <p:spPr>
          <a:xfrm rot="16200000">
            <a:off x="11180" y="2217409"/>
            <a:ext cx="1793340" cy="58491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Negotiation milestones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4573551-EBC3-8E64-7158-CFF70B0947FE}"/>
              </a:ext>
            </a:extLst>
          </p:cNvPr>
          <p:cNvSpPr/>
          <p:nvPr/>
        </p:nvSpPr>
        <p:spPr>
          <a:xfrm rot="16200000">
            <a:off x="-23223" y="4633285"/>
            <a:ext cx="1862144" cy="584916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err="1">
                <a:solidFill>
                  <a:srgbClr val="575757"/>
                </a:solidFill>
              </a:rPr>
              <a:t>ULFW</a:t>
            </a:r>
            <a:r>
              <a:rPr lang="en-US" sz="1600" b="1">
                <a:solidFill>
                  <a:srgbClr val="575757"/>
                </a:solidFill>
              </a:rPr>
              <a:t> Claims Process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743C85D-1CBE-949B-1018-74E14AD3C4F3}"/>
              </a:ext>
            </a:extLst>
          </p:cNvPr>
          <p:cNvGrpSpPr>
            <a:grpSpLocks noChangeAspect="1"/>
          </p:cNvGrpSpPr>
          <p:nvPr/>
        </p:nvGrpSpPr>
        <p:grpSpPr>
          <a:xfrm>
            <a:off x="1353676" y="1243012"/>
            <a:ext cx="260912" cy="260912"/>
            <a:chOff x="982662" y="3463925"/>
            <a:chExt cx="269875" cy="269875"/>
          </a:xfrm>
        </p:grpSpPr>
        <p:sp>
          <p:nvSpPr>
            <p:cNvPr id="62" name="Oval 14">
              <a:extLst>
                <a:ext uri="{FF2B5EF4-FFF2-40B4-BE49-F238E27FC236}">
                  <a16:creationId xmlns:a16="http://schemas.microsoft.com/office/drawing/2014/main" id="{E49AA0DE-F600-BC06-4687-A7B8CD86E3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463925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AB771563-6AD2-429B-0A6B-C6ECFCF057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812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6382A49-C8FA-1CFD-E8DE-0094969C3FA8}"/>
              </a:ext>
            </a:extLst>
          </p:cNvPr>
          <p:cNvSpPr/>
          <p:nvPr/>
        </p:nvSpPr>
        <p:spPr>
          <a:xfrm>
            <a:off x="1564480" y="1272173"/>
            <a:ext cx="1046179" cy="202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i="1" dirty="0">
                <a:solidFill>
                  <a:schemeClr val="tx2"/>
                </a:solidFill>
              </a:rPr>
              <a:t>We are he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C2429C3-ABBD-1946-DE8B-7F4818D8B3CD}"/>
              </a:ext>
            </a:extLst>
          </p:cNvPr>
          <p:cNvGrpSpPr>
            <a:grpSpLocks noChangeAspect="1"/>
          </p:cNvGrpSpPr>
          <p:nvPr/>
        </p:nvGrpSpPr>
        <p:grpSpPr>
          <a:xfrm>
            <a:off x="4298970" y="1243012"/>
            <a:ext cx="260912" cy="260912"/>
            <a:chOff x="982662" y="3463925"/>
            <a:chExt cx="269875" cy="269875"/>
          </a:xfrm>
        </p:grpSpPr>
        <p:sp>
          <p:nvSpPr>
            <p:cNvPr id="18" name="Oval 14">
              <a:extLst>
                <a:ext uri="{FF2B5EF4-FFF2-40B4-BE49-F238E27FC236}">
                  <a16:creationId xmlns:a16="http://schemas.microsoft.com/office/drawing/2014/main" id="{87CA717F-FEE4-F04F-6BD9-1A9001612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463925"/>
              <a:ext cx="269875" cy="2698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C1DA6CF5-B215-9F87-80E0-62F200AE5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812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3A18A465-BF89-DD67-A230-3C9AE423EBB6}"/>
              </a:ext>
            </a:extLst>
          </p:cNvPr>
          <p:cNvSpPr/>
          <p:nvPr/>
        </p:nvSpPr>
        <p:spPr>
          <a:xfrm>
            <a:off x="4509774" y="1272173"/>
            <a:ext cx="1935476" cy="202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i="1" dirty="0">
                <a:solidFill>
                  <a:srgbClr val="00B050"/>
                </a:solidFill>
              </a:rPr>
              <a:t>Focus of today's session</a:t>
            </a:r>
          </a:p>
        </p:txBody>
      </p:sp>
    </p:spTree>
    <p:extLst>
      <p:ext uri="{BB962C8B-B14F-4D97-AF65-F5344CB8AC3E}">
        <p14:creationId xmlns:p14="http://schemas.microsoft.com/office/powerpoint/2010/main" val="74952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1C2D2E-4A27-0590-185C-02571A59B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think-cell data - do not delete" hidden="1">
            <a:extLst>
              <a:ext uri="{FF2B5EF4-FFF2-40B4-BE49-F238E27FC236}">
                <a16:creationId xmlns:a16="http://schemas.microsoft.com/office/drawing/2014/main" id="{D3BB8A4F-6824-BAC9-9479-590DA41EA3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5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BB8A4F-6824-BAC9-9479-590DA41EA3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8D272E-FAD7-4A1E-902F-63F57A52D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pPr>
              <a:tabLst>
                <a:tab pos="1031875" algn="l"/>
              </a:tabLst>
            </a:pPr>
            <a:r>
              <a:rPr lang="en-US" dirty="0">
                <a:solidFill>
                  <a:schemeClr val="tx1"/>
                </a:solidFill>
              </a:rPr>
              <a:t>Recall |</a:t>
            </a:r>
            <a:r>
              <a:rPr lang="en-US" dirty="0"/>
              <a:t> Tranche-2 will conclude with three distinct outcomes for bids and </a:t>
            </a:r>
            <a:r>
              <a:rPr lang="en-US" dirty="0" err="1"/>
              <a:t>CBGs</a:t>
            </a:r>
            <a:endParaRPr lang="en-US" dirty="0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F7F1FD1D-9D72-EF47-CCD1-9401D5953F7C}"/>
              </a:ext>
            </a:extLst>
          </p:cNvPr>
          <p:cNvSpPr/>
          <p:nvPr/>
        </p:nvSpPr>
        <p:spPr>
          <a:xfrm rot="16200000">
            <a:off x="3066403" y="-959417"/>
            <a:ext cx="567771" cy="49834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3386"/>
          </a:solidFill>
          <a:ln w="9525" cap="rnd" cmpd="sng" algn="ctr">
            <a:solidFill>
              <a:srgbClr val="1E3F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A7F2DE2-D2B0-7964-3A83-7211099623AD}"/>
              </a:ext>
            </a:extLst>
          </p:cNvPr>
          <p:cNvSpPr/>
          <p:nvPr/>
        </p:nvSpPr>
        <p:spPr>
          <a:xfrm>
            <a:off x="798932" y="1188826"/>
            <a:ext cx="687003" cy="687003"/>
          </a:xfrm>
          <a:prstGeom prst="ellipse">
            <a:avLst/>
          </a:prstGeom>
          <a:solidFill>
            <a:sysClr val="window" lastClr="FFFFFF"/>
          </a:solidFill>
          <a:ln w="9525" cap="rnd" cmpd="sng" algn="ctr">
            <a:solidFill>
              <a:srgbClr val="00338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i="0" u="none" strike="noStrike" kern="0" cap="none" spc="0" normalizeH="0" baseline="0" noProof="0">
              <a:ln>
                <a:noFill/>
              </a:ln>
              <a:solidFill>
                <a:srgbClr val="00338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D75173-9D7F-9AC3-97F0-C7EAC725B9AC}"/>
              </a:ext>
            </a:extLst>
          </p:cNvPr>
          <p:cNvSpPr txBox="1"/>
          <p:nvPr/>
        </p:nvSpPr>
        <p:spPr>
          <a:xfrm>
            <a:off x="1544975" y="1248442"/>
            <a:ext cx="2798426" cy="5677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Bids will </a:t>
            </a:r>
            <a:r>
              <a:rPr kumimoji="0" lang="en-US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hav</a:t>
            </a:r>
            <a:r>
              <a:rPr lang="en-US" b="1" kern="0">
                <a:solidFill>
                  <a:srgbClr val="FFFFFF"/>
                </a:solidFill>
                <a:latin typeface="+mj-lt"/>
              </a:rPr>
              <a:t>e one of three outcomes</a:t>
            </a:r>
            <a:endParaRPr kumimoji="0" lang="en-US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BA3FBC8B-41BC-AC3D-47B7-0505FD994DC1}"/>
              </a:ext>
            </a:extLst>
          </p:cNvPr>
          <p:cNvSpPr/>
          <p:nvPr/>
        </p:nvSpPr>
        <p:spPr>
          <a:xfrm rot="16200000">
            <a:off x="8538516" y="-959416"/>
            <a:ext cx="567771" cy="49834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3386"/>
          </a:solidFill>
          <a:ln w="9525" cap="rnd" cmpd="sng" algn="ctr">
            <a:solidFill>
              <a:srgbClr val="1E3F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C8AEE46-9CB6-C6C0-676C-58ABF4FFD5B6}"/>
              </a:ext>
            </a:extLst>
          </p:cNvPr>
          <p:cNvSpPr/>
          <p:nvPr/>
        </p:nvSpPr>
        <p:spPr>
          <a:xfrm>
            <a:off x="6271045" y="1188827"/>
            <a:ext cx="687003" cy="687003"/>
          </a:xfrm>
          <a:prstGeom prst="ellipse">
            <a:avLst/>
          </a:prstGeom>
          <a:solidFill>
            <a:sysClr val="window" lastClr="FFFFFF"/>
          </a:solidFill>
          <a:ln w="9525" cap="rnd" cmpd="sng" algn="ctr">
            <a:solidFill>
              <a:srgbClr val="00338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i="0" u="none" strike="noStrike" kern="0" cap="none" spc="0" normalizeH="0" baseline="0" noProof="0">
              <a:ln>
                <a:noFill/>
              </a:ln>
              <a:solidFill>
                <a:srgbClr val="00338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24FD1D-7D16-5AD7-D14B-12198DDF2392}"/>
              </a:ext>
            </a:extLst>
          </p:cNvPr>
          <p:cNvSpPr txBox="1"/>
          <p:nvPr/>
        </p:nvSpPr>
        <p:spPr>
          <a:xfrm>
            <a:off x="7017088" y="1248443"/>
            <a:ext cx="2798426" cy="5677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b="1" kern="0" err="1">
                <a:solidFill>
                  <a:srgbClr val="FFFFFF"/>
                </a:solidFill>
                <a:latin typeface="+mj-lt"/>
              </a:rPr>
              <a:t>CBGs</a:t>
            </a:r>
            <a:r>
              <a:rPr lang="en-US" b="1" kern="0">
                <a:solidFill>
                  <a:srgbClr val="FFFFFF"/>
                </a:solidFill>
                <a:latin typeface="+mj-lt"/>
              </a:rPr>
              <a:t> will have one of three statuses</a:t>
            </a:r>
            <a:endParaRPr kumimoji="0" lang="en-US" sz="12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sym typeface="Trebuchet MS" panose="020B0603020202020204" pitchFamily="34" charset="0"/>
            </a:endParaRPr>
          </a:p>
        </p:txBody>
      </p:sp>
      <p:grpSp>
        <p:nvGrpSpPr>
          <p:cNvPr id="20" name="bcgIcons_Building Blocks ">
            <a:extLst>
              <a:ext uri="{FF2B5EF4-FFF2-40B4-BE49-F238E27FC236}">
                <a16:creationId xmlns:a16="http://schemas.microsoft.com/office/drawing/2014/main" id="{6A3E4BBE-8A54-57EE-050F-E7D9757C6CA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02017" y="1219508"/>
            <a:ext cx="625061" cy="625641"/>
            <a:chOff x="1682" y="0"/>
            <a:chExt cx="4316" cy="4320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25245EF3-672E-C7AA-3EBD-368562D1A62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EAF4E77-1019-DDD6-D174-4F7916F4A7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9" y="889"/>
              <a:ext cx="2526" cy="2529"/>
            </a:xfrm>
            <a:custGeom>
              <a:avLst/>
              <a:gdLst>
                <a:gd name="T0" fmla="*/ 0 w 2526"/>
                <a:gd name="T1" fmla="*/ 2529 h 2529"/>
                <a:gd name="T2" fmla="*/ 0 w 2526"/>
                <a:gd name="T3" fmla="*/ 1305 h 2529"/>
                <a:gd name="T4" fmla="*/ 1222 w 2526"/>
                <a:gd name="T5" fmla="*/ 1305 h 2529"/>
                <a:gd name="T6" fmla="*/ 1222 w 2526"/>
                <a:gd name="T7" fmla="*/ 2529 h 2529"/>
                <a:gd name="T8" fmla="*/ 0 w 2526"/>
                <a:gd name="T9" fmla="*/ 2529 h 2529"/>
                <a:gd name="T10" fmla="*/ 2526 w 2526"/>
                <a:gd name="T11" fmla="*/ 2529 h 2529"/>
                <a:gd name="T12" fmla="*/ 2526 w 2526"/>
                <a:gd name="T13" fmla="*/ 1305 h 2529"/>
                <a:gd name="T14" fmla="*/ 1304 w 2526"/>
                <a:gd name="T15" fmla="*/ 1305 h 2529"/>
                <a:gd name="T16" fmla="*/ 1304 w 2526"/>
                <a:gd name="T17" fmla="*/ 2529 h 2529"/>
                <a:gd name="T18" fmla="*/ 2526 w 2526"/>
                <a:gd name="T19" fmla="*/ 2529 h 2529"/>
                <a:gd name="T20" fmla="*/ 2526 w 2526"/>
                <a:gd name="T21" fmla="*/ 1222 h 2529"/>
                <a:gd name="T22" fmla="*/ 2526 w 2526"/>
                <a:gd name="T23" fmla="*/ 0 h 2529"/>
                <a:gd name="T24" fmla="*/ 1304 w 2526"/>
                <a:gd name="T25" fmla="*/ 0 h 2529"/>
                <a:gd name="T26" fmla="*/ 1304 w 2526"/>
                <a:gd name="T27" fmla="*/ 1222 h 2529"/>
                <a:gd name="T28" fmla="*/ 2526 w 2526"/>
                <a:gd name="T29" fmla="*/ 1222 h 2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26" h="2529">
                  <a:moveTo>
                    <a:pt x="0" y="2529"/>
                  </a:moveTo>
                  <a:lnTo>
                    <a:pt x="0" y="1305"/>
                  </a:lnTo>
                  <a:lnTo>
                    <a:pt x="1222" y="1305"/>
                  </a:lnTo>
                  <a:lnTo>
                    <a:pt x="1222" y="2529"/>
                  </a:lnTo>
                  <a:lnTo>
                    <a:pt x="0" y="2529"/>
                  </a:lnTo>
                  <a:close/>
                  <a:moveTo>
                    <a:pt x="2526" y="2529"/>
                  </a:moveTo>
                  <a:lnTo>
                    <a:pt x="2526" y="1305"/>
                  </a:lnTo>
                  <a:lnTo>
                    <a:pt x="1304" y="1305"/>
                  </a:lnTo>
                  <a:lnTo>
                    <a:pt x="1304" y="2529"/>
                  </a:lnTo>
                  <a:lnTo>
                    <a:pt x="2526" y="2529"/>
                  </a:lnTo>
                  <a:close/>
                  <a:moveTo>
                    <a:pt x="2526" y="1222"/>
                  </a:moveTo>
                  <a:lnTo>
                    <a:pt x="2526" y="0"/>
                  </a:lnTo>
                  <a:lnTo>
                    <a:pt x="1304" y="0"/>
                  </a:lnTo>
                  <a:lnTo>
                    <a:pt x="1304" y="1222"/>
                  </a:lnTo>
                  <a:lnTo>
                    <a:pt x="2526" y="122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E64C669-A3A1-5FEE-A54A-B8FD8BD8FB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5" y="724"/>
              <a:ext cx="2854" cy="2859"/>
            </a:xfrm>
            <a:custGeom>
              <a:avLst/>
              <a:gdLst>
                <a:gd name="T0" fmla="*/ 1502 w 1524"/>
                <a:gd name="T1" fmla="*/ 1525 h 1525"/>
                <a:gd name="T2" fmla="*/ 22 w 1524"/>
                <a:gd name="T3" fmla="*/ 1525 h 1525"/>
                <a:gd name="T4" fmla="*/ 0 w 1524"/>
                <a:gd name="T5" fmla="*/ 1503 h 1525"/>
                <a:gd name="T6" fmla="*/ 0 w 1524"/>
                <a:gd name="T7" fmla="*/ 718 h 1525"/>
                <a:gd name="T8" fmla="*/ 22 w 1524"/>
                <a:gd name="T9" fmla="*/ 696 h 1525"/>
                <a:gd name="T10" fmla="*/ 696 w 1524"/>
                <a:gd name="T11" fmla="*/ 696 h 1525"/>
                <a:gd name="T12" fmla="*/ 696 w 1524"/>
                <a:gd name="T13" fmla="*/ 22 h 1525"/>
                <a:gd name="T14" fmla="*/ 718 w 1524"/>
                <a:gd name="T15" fmla="*/ 0 h 1525"/>
                <a:gd name="T16" fmla="*/ 1502 w 1524"/>
                <a:gd name="T17" fmla="*/ 0 h 1525"/>
                <a:gd name="T18" fmla="*/ 1524 w 1524"/>
                <a:gd name="T19" fmla="*/ 22 h 1525"/>
                <a:gd name="T20" fmla="*/ 1524 w 1524"/>
                <a:gd name="T21" fmla="*/ 1503 h 1525"/>
                <a:gd name="T22" fmla="*/ 1502 w 1524"/>
                <a:gd name="T23" fmla="*/ 1525 h 1525"/>
                <a:gd name="T24" fmla="*/ 44 w 1524"/>
                <a:gd name="T25" fmla="*/ 1481 h 1525"/>
                <a:gd name="T26" fmla="*/ 1480 w 1524"/>
                <a:gd name="T27" fmla="*/ 1481 h 1525"/>
                <a:gd name="T28" fmla="*/ 1480 w 1524"/>
                <a:gd name="T29" fmla="*/ 44 h 1525"/>
                <a:gd name="T30" fmla="*/ 740 w 1524"/>
                <a:gd name="T31" fmla="*/ 44 h 1525"/>
                <a:gd name="T32" fmla="*/ 740 w 1524"/>
                <a:gd name="T33" fmla="*/ 718 h 1525"/>
                <a:gd name="T34" fmla="*/ 718 w 1524"/>
                <a:gd name="T35" fmla="*/ 740 h 1525"/>
                <a:gd name="T36" fmla="*/ 44 w 1524"/>
                <a:gd name="T37" fmla="*/ 740 h 1525"/>
                <a:gd name="T38" fmla="*/ 44 w 1524"/>
                <a:gd name="T39" fmla="*/ 148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24" h="1525">
                  <a:moveTo>
                    <a:pt x="1502" y="1525"/>
                  </a:moveTo>
                  <a:cubicBezTo>
                    <a:pt x="22" y="1525"/>
                    <a:pt x="22" y="1525"/>
                    <a:pt x="22" y="1525"/>
                  </a:cubicBezTo>
                  <a:cubicBezTo>
                    <a:pt x="10" y="1525"/>
                    <a:pt x="0" y="1515"/>
                    <a:pt x="0" y="1503"/>
                  </a:cubicBezTo>
                  <a:cubicBezTo>
                    <a:pt x="0" y="718"/>
                    <a:pt x="0" y="718"/>
                    <a:pt x="0" y="718"/>
                  </a:cubicBezTo>
                  <a:cubicBezTo>
                    <a:pt x="0" y="706"/>
                    <a:pt x="10" y="696"/>
                    <a:pt x="22" y="696"/>
                  </a:cubicBezTo>
                  <a:cubicBezTo>
                    <a:pt x="696" y="696"/>
                    <a:pt x="696" y="696"/>
                    <a:pt x="696" y="696"/>
                  </a:cubicBezTo>
                  <a:cubicBezTo>
                    <a:pt x="696" y="22"/>
                    <a:pt x="696" y="22"/>
                    <a:pt x="696" y="22"/>
                  </a:cubicBezTo>
                  <a:cubicBezTo>
                    <a:pt x="696" y="10"/>
                    <a:pt x="706" y="0"/>
                    <a:pt x="718" y="0"/>
                  </a:cubicBezTo>
                  <a:cubicBezTo>
                    <a:pt x="1502" y="0"/>
                    <a:pt x="1502" y="0"/>
                    <a:pt x="1502" y="0"/>
                  </a:cubicBezTo>
                  <a:cubicBezTo>
                    <a:pt x="1514" y="0"/>
                    <a:pt x="1524" y="10"/>
                    <a:pt x="1524" y="22"/>
                  </a:cubicBezTo>
                  <a:cubicBezTo>
                    <a:pt x="1524" y="1503"/>
                    <a:pt x="1524" y="1503"/>
                    <a:pt x="1524" y="1503"/>
                  </a:cubicBezTo>
                  <a:cubicBezTo>
                    <a:pt x="1524" y="1515"/>
                    <a:pt x="1514" y="1525"/>
                    <a:pt x="1502" y="1525"/>
                  </a:cubicBezTo>
                  <a:close/>
                  <a:moveTo>
                    <a:pt x="44" y="1481"/>
                  </a:moveTo>
                  <a:cubicBezTo>
                    <a:pt x="1480" y="1481"/>
                    <a:pt x="1480" y="1481"/>
                    <a:pt x="1480" y="1481"/>
                  </a:cubicBezTo>
                  <a:cubicBezTo>
                    <a:pt x="1480" y="44"/>
                    <a:pt x="1480" y="44"/>
                    <a:pt x="1480" y="44"/>
                  </a:cubicBezTo>
                  <a:cubicBezTo>
                    <a:pt x="740" y="44"/>
                    <a:pt x="740" y="44"/>
                    <a:pt x="740" y="44"/>
                  </a:cubicBezTo>
                  <a:cubicBezTo>
                    <a:pt x="740" y="718"/>
                    <a:pt x="740" y="718"/>
                    <a:pt x="740" y="718"/>
                  </a:cubicBezTo>
                  <a:cubicBezTo>
                    <a:pt x="740" y="730"/>
                    <a:pt x="730" y="740"/>
                    <a:pt x="718" y="740"/>
                  </a:cubicBezTo>
                  <a:cubicBezTo>
                    <a:pt x="44" y="740"/>
                    <a:pt x="44" y="740"/>
                    <a:pt x="44" y="740"/>
                  </a:cubicBezTo>
                  <a:lnTo>
                    <a:pt x="44" y="14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bcgIcons_Winner Podium ">
            <a:extLst>
              <a:ext uri="{FF2B5EF4-FFF2-40B4-BE49-F238E27FC236}">
                <a16:creationId xmlns:a16="http://schemas.microsoft.com/office/drawing/2014/main" id="{FC9CDD6F-E6A8-B15E-610A-085F18A459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9902" y="1219507"/>
            <a:ext cx="625062" cy="625641"/>
            <a:chOff x="1682" y="0"/>
            <a:chExt cx="4316" cy="4320"/>
          </a:xfrm>
        </p:grpSpPr>
        <p:sp>
          <p:nvSpPr>
            <p:cNvPr id="25" name="AutoShape 18">
              <a:extLst>
                <a:ext uri="{FF2B5EF4-FFF2-40B4-BE49-F238E27FC236}">
                  <a16:creationId xmlns:a16="http://schemas.microsoft.com/office/drawing/2014/main" id="{9AD5DF9A-FE14-5815-A247-02E9E976CEB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0">
              <a:extLst>
                <a:ext uri="{FF2B5EF4-FFF2-40B4-BE49-F238E27FC236}">
                  <a16:creationId xmlns:a16="http://schemas.microsoft.com/office/drawing/2014/main" id="{E537F274-003C-2141-6110-288C38DC8E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0" y="724"/>
              <a:ext cx="3620" cy="2874"/>
            </a:xfrm>
            <a:custGeom>
              <a:avLst/>
              <a:gdLst>
                <a:gd name="T0" fmla="*/ 1008 w 1932"/>
                <a:gd name="T1" fmla="*/ 464 h 1533"/>
                <a:gd name="T2" fmla="*/ 1038 w 1932"/>
                <a:gd name="T3" fmla="*/ 525 h 1533"/>
                <a:gd name="T4" fmla="*/ 1075 w 1932"/>
                <a:gd name="T5" fmla="*/ 574 h 1533"/>
                <a:gd name="T6" fmla="*/ 1070 w 1932"/>
                <a:gd name="T7" fmla="*/ 583 h 1533"/>
                <a:gd name="T8" fmla="*/ 862 w 1932"/>
                <a:gd name="T9" fmla="*/ 583 h 1533"/>
                <a:gd name="T10" fmla="*/ 857 w 1932"/>
                <a:gd name="T11" fmla="*/ 574 h 1533"/>
                <a:gd name="T12" fmla="*/ 894 w 1932"/>
                <a:gd name="T13" fmla="*/ 525 h 1533"/>
                <a:gd name="T14" fmla="*/ 924 w 1932"/>
                <a:gd name="T15" fmla="*/ 464 h 1533"/>
                <a:gd name="T16" fmla="*/ 922 w 1932"/>
                <a:gd name="T17" fmla="*/ 456 h 1533"/>
                <a:gd name="T18" fmla="*/ 846 w 1932"/>
                <a:gd name="T19" fmla="*/ 399 h 1533"/>
                <a:gd name="T20" fmla="*/ 763 w 1932"/>
                <a:gd name="T21" fmla="*/ 250 h 1533"/>
                <a:gd name="T22" fmla="*/ 724 w 1932"/>
                <a:gd name="T23" fmla="*/ 63 h 1533"/>
                <a:gd name="T24" fmla="*/ 720 w 1932"/>
                <a:gd name="T25" fmla="*/ 13 h 1533"/>
                <a:gd name="T26" fmla="*/ 733 w 1932"/>
                <a:gd name="T27" fmla="*/ 0 h 1533"/>
                <a:gd name="T28" fmla="*/ 735 w 1932"/>
                <a:gd name="T29" fmla="*/ 0 h 1533"/>
                <a:gd name="T30" fmla="*/ 1197 w 1932"/>
                <a:gd name="T31" fmla="*/ 0 h 1533"/>
                <a:gd name="T32" fmla="*/ 1212 w 1932"/>
                <a:gd name="T33" fmla="*/ 13 h 1533"/>
                <a:gd name="T34" fmla="*/ 1208 w 1932"/>
                <a:gd name="T35" fmla="*/ 63 h 1533"/>
                <a:gd name="T36" fmla="*/ 1169 w 1932"/>
                <a:gd name="T37" fmla="*/ 250 h 1533"/>
                <a:gd name="T38" fmla="*/ 1086 w 1932"/>
                <a:gd name="T39" fmla="*/ 399 h 1533"/>
                <a:gd name="T40" fmla="*/ 1010 w 1932"/>
                <a:gd name="T41" fmla="*/ 456 h 1533"/>
                <a:gd name="T42" fmla="*/ 1008 w 1932"/>
                <a:gd name="T43" fmla="*/ 464 h 1533"/>
                <a:gd name="T44" fmla="*/ 1932 w 1932"/>
                <a:gd name="T45" fmla="*/ 1411 h 1533"/>
                <a:gd name="T46" fmla="*/ 1932 w 1932"/>
                <a:gd name="T47" fmla="*/ 1511 h 1533"/>
                <a:gd name="T48" fmla="*/ 1910 w 1932"/>
                <a:gd name="T49" fmla="*/ 1533 h 1533"/>
                <a:gd name="T50" fmla="*/ 22 w 1932"/>
                <a:gd name="T51" fmla="*/ 1533 h 1533"/>
                <a:gd name="T52" fmla="*/ 0 w 1932"/>
                <a:gd name="T53" fmla="*/ 1511 h 1533"/>
                <a:gd name="T54" fmla="*/ 0 w 1932"/>
                <a:gd name="T55" fmla="*/ 1411 h 1533"/>
                <a:gd name="T56" fmla="*/ 22 w 1932"/>
                <a:gd name="T57" fmla="*/ 1389 h 1533"/>
                <a:gd name="T58" fmla="*/ 98 w 1932"/>
                <a:gd name="T59" fmla="*/ 1389 h 1533"/>
                <a:gd name="T60" fmla="*/ 98 w 1932"/>
                <a:gd name="T61" fmla="*/ 1352 h 1533"/>
                <a:gd name="T62" fmla="*/ 120 w 1932"/>
                <a:gd name="T63" fmla="*/ 1330 h 1533"/>
                <a:gd name="T64" fmla="*/ 1812 w 1932"/>
                <a:gd name="T65" fmla="*/ 1330 h 1533"/>
                <a:gd name="T66" fmla="*/ 1834 w 1932"/>
                <a:gd name="T67" fmla="*/ 1352 h 1533"/>
                <a:gd name="T68" fmla="*/ 1834 w 1932"/>
                <a:gd name="T69" fmla="*/ 1389 h 1533"/>
                <a:gd name="T70" fmla="*/ 1910 w 1932"/>
                <a:gd name="T71" fmla="*/ 1389 h 1533"/>
                <a:gd name="T72" fmla="*/ 1932 w 1932"/>
                <a:gd name="T73" fmla="*/ 1411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2" h="1533">
                  <a:moveTo>
                    <a:pt x="1008" y="464"/>
                  </a:moveTo>
                  <a:cubicBezTo>
                    <a:pt x="1017" y="485"/>
                    <a:pt x="1026" y="506"/>
                    <a:pt x="1038" y="525"/>
                  </a:cubicBezTo>
                  <a:cubicBezTo>
                    <a:pt x="1049" y="542"/>
                    <a:pt x="1062" y="558"/>
                    <a:pt x="1075" y="574"/>
                  </a:cubicBezTo>
                  <a:cubicBezTo>
                    <a:pt x="1078" y="578"/>
                    <a:pt x="1076" y="583"/>
                    <a:pt x="1070" y="583"/>
                  </a:cubicBezTo>
                  <a:cubicBezTo>
                    <a:pt x="1070" y="583"/>
                    <a:pt x="1070" y="583"/>
                    <a:pt x="862" y="583"/>
                  </a:cubicBezTo>
                  <a:cubicBezTo>
                    <a:pt x="857" y="583"/>
                    <a:pt x="854" y="578"/>
                    <a:pt x="857" y="574"/>
                  </a:cubicBezTo>
                  <a:cubicBezTo>
                    <a:pt x="870" y="558"/>
                    <a:pt x="883" y="542"/>
                    <a:pt x="894" y="525"/>
                  </a:cubicBezTo>
                  <a:cubicBezTo>
                    <a:pt x="906" y="506"/>
                    <a:pt x="915" y="485"/>
                    <a:pt x="924" y="464"/>
                  </a:cubicBezTo>
                  <a:cubicBezTo>
                    <a:pt x="925" y="461"/>
                    <a:pt x="924" y="458"/>
                    <a:pt x="922" y="456"/>
                  </a:cubicBezTo>
                  <a:cubicBezTo>
                    <a:pt x="905" y="446"/>
                    <a:pt x="851" y="405"/>
                    <a:pt x="846" y="399"/>
                  </a:cubicBezTo>
                  <a:cubicBezTo>
                    <a:pt x="807" y="357"/>
                    <a:pt x="778" y="305"/>
                    <a:pt x="763" y="250"/>
                  </a:cubicBezTo>
                  <a:cubicBezTo>
                    <a:pt x="746" y="188"/>
                    <a:pt x="737" y="125"/>
                    <a:pt x="724" y="63"/>
                  </a:cubicBezTo>
                  <a:cubicBezTo>
                    <a:pt x="721" y="48"/>
                    <a:pt x="714" y="29"/>
                    <a:pt x="720" y="13"/>
                  </a:cubicBezTo>
                  <a:cubicBezTo>
                    <a:pt x="723" y="6"/>
                    <a:pt x="727" y="2"/>
                    <a:pt x="733" y="0"/>
                  </a:cubicBezTo>
                  <a:cubicBezTo>
                    <a:pt x="734" y="0"/>
                    <a:pt x="734" y="0"/>
                    <a:pt x="735" y="0"/>
                  </a:cubicBezTo>
                  <a:cubicBezTo>
                    <a:pt x="753" y="0"/>
                    <a:pt x="1179" y="0"/>
                    <a:pt x="1197" y="0"/>
                  </a:cubicBezTo>
                  <a:cubicBezTo>
                    <a:pt x="1198" y="0"/>
                    <a:pt x="1209" y="6"/>
                    <a:pt x="1212" y="13"/>
                  </a:cubicBezTo>
                  <a:cubicBezTo>
                    <a:pt x="1218" y="29"/>
                    <a:pt x="1211" y="48"/>
                    <a:pt x="1208" y="63"/>
                  </a:cubicBezTo>
                  <a:cubicBezTo>
                    <a:pt x="1195" y="125"/>
                    <a:pt x="1186" y="188"/>
                    <a:pt x="1169" y="250"/>
                  </a:cubicBezTo>
                  <a:cubicBezTo>
                    <a:pt x="1154" y="305"/>
                    <a:pt x="1125" y="357"/>
                    <a:pt x="1086" y="399"/>
                  </a:cubicBezTo>
                  <a:cubicBezTo>
                    <a:pt x="1081" y="405"/>
                    <a:pt x="1027" y="446"/>
                    <a:pt x="1010" y="456"/>
                  </a:cubicBezTo>
                  <a:cubicBezTo>
                    <a:pt x="1008" y="458"/>
                    <a:pt x="1007" y="461"/>
                    <a:pt x="1008" y="464"/>
                  </a:cubicBezTo>
                  <a:close/>
                  <a:moveTo>
                    <a:pt x="1932" y="1411"/>
                  </a:moveTo>
                  <a:cubicBezTo>
                    <a:pt x="1932" y="1511"/>
                    <a:pt x="1932" y="1511"/>
                    <a:pt x="1932" y="1511"/>
                  </a:cubicBezTo>
                  <a:cubicBezTo>
                    <a:pt x="1932" y="1523"/>
                    <a:pt x="1923" y="1533"/>
                    <a:pt x="1910" y="1533"/>
                  </a:cubicBezTo>
                  <a:cubicBezTo>
                    <a:pt x="22" y="1533"/>
                    <a:pt x="22" y="1533"/>
                    <a:pt x="22" y="1533"/>
                  </a:cubicBezTo>
                  <a:cubicBezTo>
                    <a:pt x="9" y="1533"/>
                    <a:pt x="0" y="1523"/>
                    <a:pt x="0" y="1511"/>
                  </a:cubicBezTo>
                  <a:cubicBezTo>
                    <a:pt x="0" y="1411"/>
                    <a:pt x="0" y="1411"/>
                    <a:pt x="0" y="1411"/>
                  </a:cubicBezTo>
                  <a:cubicBezTo>
                    <a:pt x="0" y="1399"/>
                    <a:pt x="9" y="1389"/>
                    <a:pt x="22" y="1389"/>
                  </a:cubicBezTo>
                  <a:cubicBezTo>
                    <a:pt x="98" y="1389"/>
                    <a:pt x="98" y="1389"/>
                    <a:pt x="98" y="1389"/>
                  </a:cubicBezTo>
                  <a:cubicBezTo>
                    <a:pt x="98" y="1352"/>
                    <a:pt x="98" y="1352"/>
                    <a:pt x="98" y="1352"/>
                  </a:cubicBezTo>
                  <a:cubicBezTo>
                    <a:pt x="98" y="1340"/>
                    <a:pt x="108" y="1330"/>
                    <a:pt x="120" y="1330"/>
                  </a:cubicBezTo>
                  <a:cubicBezTo>
                    <a:pt x="1812" y="1330"/>
                    <a:pt x="1812" y="1330"/>
                    <a:pt x="1812" y="1330"/>
                  </a:cubicBezTo>
                  <a:cubicBezTo>
                    <a:pt x="1824" y="1330"/>
                    <a:pt x="1834" y="1340"/>
                    <a:pt x="1834" y="1352"/>
                  </a:cubicBezTo>
                  <a:cubicBezTo>
                    <a:pt x="1834" y="1389"/>
                    <a:pt x="1834" y="1389"/>
                    <a:pt x="1834" y="1389"/>
                  </a:cubicBezTo>
                  <a:cubicBezTo>
                    <a:pt x="1910" y="1389"/>
                    <a:pt x="1910" y="1389"/>
                    <a:pt x="1910" y="1389"/>
                  </a:cubicBezTo>
                  <a:cubicBezTo>
                    <a:pt x="1923" y="1389"/>
                    <a:pt x="1932" y="1399"/>
                    <a:pt x="1932" y="14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61B6BD2A-59D6-319D-E532-055C99C006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786"/>
              <a:ext cx="2724" cy="2349"/>
            </a:xfrm>
            <a:custGeom>
              <a:avLst/>
              <a:gdLst>
                <a:gd name="T0" fmla="*/ 511 w 1454"/>
                <a:gd name="T1" fmla="*/ 312 h 1253"/>
                <a:gd name="T2" fmla="*/ 356 w 1454"/>
                <a:gd name="T3" fmla="*/ 75 h 1253"/>
                <a:gd name="T4" fmla="*/ 419 w 1454"/>
                <a:gd name="T5" fmla="*/ 0 h 1253"/>
                <a:gd name="T6" fmla="*/ 435 w 1454"/>
                <a:gd name="T7" fmla="*/ 0 h 1253"/>
                <a:gd name="T8" fmla="*/ 442 w 1454"/>
                <a:gd name="T9" fmla="*/ 39 h 1253"/>
                <a:gd name="T10" fmla="*/ 421 w 1454"/>
                <a:gd name="T11" fmla="*/ 44 h 1253"/>
                <a:gd name="T12" fmla="*/ 399 w 1454"/>
                <a:gd name="T13" fmla="*/ 71 h 1253"/>
                <a:gd name="T14" fmla="*/ 517 w 1454"/>
                <a:gd name="T15" fmla="*/ 315 h 1253"/>
                <a:gd name="T16" fmla="*/ 427 w 1454"/>
                <a:gd name="T17" fmla="*/ 766 h 1253"/>
                <a:gd name="T18" fmla="*/ 0 w 1454"/>
                <a:gd name="T19" fmla="*/ 788 h 1253"/>
                <a:gd name="T20" fmla="*/ 44 w 1454"/>
                <a:gd name="T21" fmla="*/ 1253 h 1253"/>
                <a:gd name="T22" fmla="*/ 405 w 1454"/>
                <a:gd name="T23" fmla="*/ 810 h 1253"/>
                <a:gd name="T24" fmla="*/ 449 w 1454"/>
                <a:gd name="T25" fmla="*/ 1253 h 1253"/>
                <a:gd name="T26" fmla="*/ 952 w 1454"/>
                <a:gd name="T27" fmla="*/ 618 h 1253"/>
                <a:gd name="T28" fmla="*/ 524 w 1454"/>
                <a:gd name="T29" fmla="*/ 596 h 1253"/>
                <a:gd name="T30" fmla="*/ 502 w 1454"/>
                <a:gd name="T31" fmla="*/ 1253 h 1253"/>
                <a:gd name="T32" fmla="*/ 546 w 1454"/>
                <a:gd name="T33" fmla="*/ 640 h 1253"/>
                <a:gd name="T34" fmla="*/ 908 w 1454"/>
                <a:gd name="T35" fmla="*/ 1253 h 1253"/>
                <a:gd name="T36" fmla="*/ 952 w 1454"/>
                <a:gd name="T37" fmla="*/ 618 h 1253"/>
                <a:gd name="T38" fmla="*/ 1432 w 1454"/>
                <a:gd name="T39" fmla="*/ 928 h 1253"/>
                <a:gd name="T40" fmla="*/ 1005 w 1454"/>
                <a:gd name="T41" fmla="*/ 950 h 1253"/>
                <a:gd name="T42" fmla="*/ 1049 w 1454"/>
                <a:gd name="T43" fmla="*/ 1253 h 1253"/>
                <a:gd name="T44" fmla="*/ 1410 w 1454"/>
                <a:gd name="T45" fmla="*/ 972 h 1253"/>
                <a:gd name="T46" fmla="*/ 1454 w 1454"/>
                <a:gd name="T47" fmla="*/ 1253 h 1253"/>
                <a:gd name="T48" fmla="*/ 1084 w 1454"/>
                <a:gd name="T49" fmla="*/ 24 h 1253"/>
                <a:gd name="T50" fmla="*/ 1034 w 1454"/>
                <a:gd name="T51" fmla="*/ 0 h 1253"/>
                <a:gd name="T52" fmla="*/ 1014 w 1454"/>
                <a:gd name="T53" fmla="*/ 32 h 1253"/>
                <a:gd name="T54" fmla="*/ 1011 w 1454"/>
                <a:gd name="T55" fmla="*/ 44 h 1253"/>
                <a:gd name="T56" fmla="*/ 1050 w 1454"/>
                <a:gd name="T57" fmla="*/ 52 h 1253"/>
                <a:gd name="T58" fmla="*/ 969 w 1454"/>
                <a:gd name="T59" fmla="*/ 239 h 1253"/>
                <a:gd name="T60" fmla="*/ 943 w 1454"/>
                <a:gd name="T61" fmla="*/ 312 h 1253"/>
                <a:gd name="T62" fmla="*/ 1098 w 1454"/>
                <a:gd name="T63" fmla="*/ 75 h 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4" h="1253">
                  <a:moveTo>
                    <a:pt x="517" y="315"/>
                  </a:moveTo>
                  <a:cubicBezTo>
                    <a:pt x="515" y="315"/>
                    <a:pt x="513" y="314"/>
                    <a:pt x="511" y="312"/>
                  </a:cubicBezTo>
                  <a:cubicBezTo>
                    <a:pt x="460" y="275"/>
                    <a:pt x="460" y="275"/>
                    <a:pt x="460" y="275"/>
                  </a:cubicBezTo>
                  <a:cubicBezTo>
                    <a:pt x="373" y="216"/>
                    <a:pt x="358" y="98"/>
                    <a:pt x="356" y="75"/>
                  </a:cubicBezTo>
                  <a:cubicBezTo>
                    <a:pt x="353" y="49"/>
                    <a:pt x="362" y="33"/>
                    <a:pt x="370" y="24"/>
                  </a:cubicBezTo>
                  <a:cubicBezTo>
                    <a:pt x="389" y="2"/>
                    <a:pt x="416" y="1"/>
                    <a:pt x="419" y="0"/>
                  </a:cubicBezTo>
                  <a:cubicBezTo>
                    <a:pt x="420" y="0"/>
                    <a:pt x="420" y="0"/>
                    <a:pt x="420" y="0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36" y="12"/>
                    <a:pt x="438" y="22"/>
                    <a:pt x="440" y="31"/>
                  </a:cubicBezTo>
                  <a:cubicBezTo>
                    <a:pt x="441" y="33"/>
                    <a:pt x="441" y="36"/>
                    <a:pt x="442" y="39"/>
                  </a:cubicBezTo>
                  <a:cubicBezTo>
                    <a:pt x="442" y="41"/>
                    <a:pt x="443" y="43"/>
                    <a:pt x="443" y="44"/>
                  </a:cubicBezTo>
                  <a:cubicBezTo>
                    <a:pt x="421" y="44"/>
                    <a:pt x="421" y="44"/>
                    <a:pt x="421" y="44"/>
                  </a:cubicBezTo>
                  <a:cubicBezTo>
                    <a:pt x="418" y="45"/>
                    <a:pt x="408" y="47"/>
                    <a:pt x="403" y="53"/>
                  </a:cubicBezTo>
                  <a:cubicBezTo>
                    <a:pt x="402" y="54"/>
                    <a:pt x="398" y="59"/>
                    <a:pt x="399" y="71"/>
                  </a:cubicBezTo>
                  <a:cubicBezTo>
                    <a:pt x="404" y="125"/>
                    <a:pt x="430" y="202"/>
                    <a:pt x="485" y="239"/>
                  </a:cubicBezTo>
                  <a:cubicBezTo>
                    <a:pt x="493" y="265"/>
                    <a:pt x="504" y="291"/>
                    <a:pt x="517" y="315"/>
                  </a:cubicBezTo>
                  <a:close/>
                  <a:moveTo>
                    <a:pt x="449" y="788"/>
                  </a:moveTo>
                  <a:cubicBezTo>
                    <a:pt x="449" y="776"/>
                    <a:pt x="439" y="766"/>
                    <a:pt x="427" y="766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0" y="766"/>
                    <a:pt x="0" y="776"/>
                    <a:pt x="0" y="788"/>
                  </a:cubicBezTo>
                  <a:cubicBezTo>
                    <a:pt x="0" y="1253"/>
                    <a:pt x="0" y="1253"/>
                    <a:pt x="0" y="1253"/>
                  </a:cubicBezTo>
                  <a:cubicBezTo>
                    <a:pt x="44" y="1253"/>
                    <a:pt x="44" y="1253"/>
                    <a:pt x="44" y="1253"/>
                  </a:cubicBezTo>
                  <a:cubicBezTo>
                    <a:pt x="44" y="810"/>
                    <a:pt x="44" y="810"/>
                    <a:pt x="44" y="810"/>
                  </a:cubicBezTo>
                  <a:cubicBezTo>
                    <a:pt x="405" y="810"/>
                    <a:pt x="405" y="810"/>
                    <a:pt x="405" y="810"/>
                  </a:cubicBezTo>
                  <a:cubicBezTo>
                    <a:pt x="405" y="1253"/>
                    <a:pt x="405" y="1253"/>
                    <a:pt x="405" y="1253"/>
                  </a:cubicBezTo>
                  <a:cubicBezTo>
                    <a:pt x="449" y="1253"/>
                    <a:pt x="449" y="1253"/>
                    <a:pt x="449" y="1253"/>
                  </a:cubicBezTo>
                  <a:lnTo>
                    <a:pt x="449" y="788"/>
                  </a:lnTo>
                  <a:close/>
                  <a:moveTo>
                    <a:pt x="952" y="618"/>
                  </a:moveTo>
                  <a:cubicBezTo>
                    <a:pt x="952" y="606"/>
                    <a:pt x="942" y="596"/>
                    <a:pt x="930" y="596"/>
                  </a:cubicBezTo>
                  <a:cubicBezTo>
                    <a:pt x="524" y="596"/>
                    <a:pt x="524" y="596"/>
                    <a:pt x="524" y="596"/>
                  </a:cubicBezTo>
                  <a:cubicBezTo>
                    <a:pt x="512" y="596"/>
                    <a:pt x="502" y="606"/>
                    <a:pt x="502" y="618"/>
                  </a:cubicBezTo>
                  <a:cubicBezTo>
                    <a:pt x="502" y="1253"/>
                    <a:pt x="502" y="1253"/>
                    <a:pt x="502" y="1253"/>
                  </a:cubicBezTo>
                  <a:cubicBezTo>
                    <a:pt x="546" y="1253"/>
                    <a:pt x="546" y="1253"/>
                    <a:pt x="546" y="1253"/>
                  </a:cubicBezTo>
                  <a:cubicBezTo>
                    <a:pt x="546" y="640"/>
                    <a:pt x="546" y="640"/>
                    <a:pt x="546" y="640"/>
                  </a:cubicBezTo>
                  <a:cubicBezTo>
                    <a:pt x="908" y="640"/>
                    <a:pt x="908" y="640"/>
                    <a:pt x="908" y="640"/>
                  </a:cubicBezTo>
                  <a:cubicBezTo>
                    <a:pt x="908" y="1253"/>
                    <a:pt x="908" y="1253"/>
                    <a:pt x="908" y="1253"/>
                  </a:cubicBezTo>
                  <a:cubicBezTo>
                    <a:pt x="952" y="1253"/>
                    <a:pt x="952" y="1253"/>
                    <a:pt x="952" y="1253"/>
                  </a:cubicBezTo>
                  <a:lnTo>
                    <a:pt x="952" y="618"/>
                  </a:lnTo>
                  <a:close/>
                  <a:moveTo>
                    <a:pt x="1454" y="950"/>
                  </a:moveTo>
                  <a:cubicBezTo>
                    <a:pt x="1454" y="938"/>
                    <a:pt x="1444" y="928"/>
                    <a:pt x="1432" y="928"/>
                  </a:cubicBezTo>
                  <a:cubicBezTo>
                    <a:pt x="1027" y="928"/>
                    <a:pt x="1027" y="928"/>
                    <a:pt x="1027" y="928"/>
                  </a:cubicBezTo>
                  <a:cubicBezTo>
                    <a:pt x="1015" y="928"/>
                    <a:pt x="1005" y="938"/>
                    <a:pt x="1005" y="950"/>
                  </a:cubicBezTo>
                  <a:cubicBezTo>
                    <a:pt x="1005" y="1253"/>
                    <a:pt x="1005" y="1253"/>
                    <a:pt x="1005" y="1253"/>
                  </a:cubicBezTo>
                  <a:cubicBezTo>
                    <a:pt x="1049" y="1253"/>
                    <a:pt x="1049" y="1253"/>
                    <a:pt x="1049" y="1253"/>
                  </a:cubicBezTo>
                  <a:cubicBezTo>
                    <a:pt x="1049" y="972"/>
                    <a:pt x="1049" y="972"/>
                    <a:pt x="1049" y="972"/>
                  </a:cubicBezTo>
                  <a:cubicBezTo>
                    <a:pt x="1410" y="972"/>
                    <a:pt x="1410" y="972"/>
                    <a:pt x="1410" y="972"/>
                  </a:cubicBezTo>
                  <a:cubicBezTo>
                    <a:pt x="1410" y="1253"/>
                    <a:pt x="1410" y="1253"/>
                    <a:pt x="1410" y="1253"/>
                  </a:cubicBezTo>
                  <a:cubicBezTo>
                    <a:pt x="1454" y="1253"/>
                    <a:pt x="1454" y="1253"/>
                    <a:pt x="1454" y="1253"/>
                  </a:cubicBezTo>
                  <a:lnTo>
                    <a:pt x="1454" y="950"/>
                  </a:lnTo>
                  <a:close/>
                  <a:moveTo>
                    <a:pt x="1084" y="24"/>
                  </a:moveTo>
                  <a:cubicBezTo>
                    <a:pt x="1065" y="2"/>
                    <a:pt x="1038" y="1"/>
                    <a:pt x="1035" y="0"/>
                  </a:cubicBezTo>
                  <a:cubicBezTo>
                    <a:pt x="1034" y="0"/>
                    <a:pt x="1034" y="0"/>
                    <a:pt x="1034" y="0"/>
                  </a:cubicBezTo>
                  <a:cubicBezTo>
                    <a:pt x="1019" y="0"/>
                    <a:pt x="1019" y="0"/>
                    <a:pt x="1019" y="0"/>
                  </a:cubicBezTo>
                  <a:cubicBezTo>
                    <a:pt x="1018" y="13"/>
                    <a:pt x="1016" y="24"/>
                    <a:pt x="1014" y="32"/>
                  </a:cubicBezTo>
                  <a:cubicBezTo>
                    <a:pt x="1013" y="35"/>
                    <a:pt x="1012" y="37"/>
                    <a:pt x="1012" y="39"/>
                  </a:cubicBezTo>
                  <a:cubicBezTo>
                    <a:pt x="1012" y="41"/>
                    <a:pt x="1011" y="43"/>
                    <a:pt x="1011" y="44"/>
                  </a:cubicBezTo>
                  <a:cubicBezTo>
                    <a:pt x="1033" y="44"/>
                    <a:pt x="1033" y="44"/>
                    <a:pt x="1033" y="44"/>
                  </a:cubicBezTo>
                  <a:cubicBezTo>
                    <a:pt x="1034" y="45"/>
                    <a:pt x="1045" y="46"/>
                    <a:pt x="1050" y="52"/>
                  </a:cubicBezTo>
                  <a:cubicBezTo>
                    <a:pt x="1052" y="54"/>
                    <a:pt x="1056" y="59"/>
                    <a:pt x="1055" y="71"/>
                  </a:cubicBezTo>
                  <a:cubicBezTo>
                    <a:pt x="1050" y="125"/>
                    <a:pt x="1024" y="202"/>
                    <a:pt x="969" y="239"/>
                  </a:cubicBezTo>
                  <a:cubicBezTo>
                    <a:pt x="961" y="265"/>
                    <a:pt x="951" y="291"/>
                    <a:pt x="937" y="315"/>
                  </a:cubicBezTo>
                  <a:cubicBezTo>
                    <a:pt x="939" y="314"/>
                    <a:pt x="941" y="314"/>
                    <a:pt x="943" y="312"/>
                  </a:cubicBezTo>
                  <a:cubicBezTo>
                    <a:pt x="994" y="275"/>
                    <a:pt x="994" y="275"/>
                    <a:pt x="994" y="275"/>
                  </a:cubicBezTo>
                  <a:cubicBezTo>
                    <a:pt x="1081" y="216"/>
                    <a:pt x="1096" y="98"/>
                    <a:pt x="1098" y="75"/>
                  </a:cubicBezTo>
                  <a:cubicBezTo>
                    <a:pt x="1101" y="49"/>
                    <a:pt x="1092" y="33"/>
                    <a:pt x="1084" y="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F6DE20F9-07B9-8EB4-57B7-1327294B0B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2008569"/>
              </p:ext>
            </p:extLst>
          </p:nvPr>
        </p:nvGraphicFramePr>
        <p:xfrm>
          <a:off x="1142432" y="2169066"/>
          <a:ext cx="10171705" cy="356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1593">
                  <a:extLst>
                    <a:ext uri="{9D8B030D-6E8A-4147-A177-3AD203B41FA5}">
                      <a16:colId xmlns:a16="http://schemas.microsoft.com/office/drawing/2014/main" val="2059738428"/>
                    </a:ext>
                  </a:extLst>
                </a:gridCol>
                <a:gridCol w="4086225">
                  <a:extLst>
                    <a:ext uri="{9D8B030D-6E8A-4147-A177-3AD203B41FA5}">
                      <a16:colId xmlns:a16="http://schemas.microsoft.com/office/drawing/2014/main" val="667333253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3760115442"/>
                    </a:ext>
                  </a:extLst>
                </a:gridCol>
                <a:gridCol w="590550">
                  <a:extLst>
                    <a:ext uri="{9D8B030D-6E8A-4147-A177-3AD203B41FA5}">
                      <a16:colId xmlns:a16="http://schemas.microsoft.com/office/drawing/2014/main" val="539340200"/>
                    </a:ext>
                  </a:extLst>
                </a:gridCol>
                <a:gridCol w="4113237">
                  <a:extLst>
                    <a:ext uri="{9D8B030D-6E8A-4147-A177-3AD203B41FA5}">
                      <a16:colId xmlns:a16="http://schemas.microsoft.com/office/drawing/2014/main" val="4281565567"/>
                    </a:ext>
                  </a:extLst>
                </a:gridCol>
              </a:tblGrid>
              <a:tr h="1188720"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tx2"/>
                          </a:solidFill>
                        </a:rPr>
                        <a:t>Preliminarily Selected</a:t>
                      </a:r>
                    </a:p>
                    <a:p>
                      <a:r>
                        <a:rPr lang="en-US" b="0">
                          <a:solidFill>
                            <a:schemeClr val="tx1"/>
                          </a:solidFill>
                        </a:rPr>
                        <a:t>Winning bids as a result of the Tranche-2 rules of adjudication and NTIA requirements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tx2"/>
                          </a:solidFill>
                        </a:rPr>
                        <a:t>Preliminarily Selected</a:t>
                      </a:r>
                    </a:p>
                    <a:p>
                      <a:r>
                        <a:rPr lang="en-US" b="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b="0">
                          <a:solidFill>
                            <a:schemeClr val="tx1"/>
                          </a:solidFill>
                        </a:rPr>
                        <a:t> within Preliminarily Selected bids</a:t>
                      </a:r>
                    </a:p>
                  </a:txBody>
                  <a:tcPr marL="45720" marR="45720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559255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2"/>
                          </a:solidFill>
                        </a:rPr>
                        <a:t>Partial Award Eligible</a:t>
                      </a:r>
                    </a:p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Bids that were not preliminary selected, but have residual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due to an overlap with a winning bid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tx2"/>
                          </a:solidFill>
                        </a:rPr>
                        <a:t>Partial Award Eligible</a:t>
                      </a:r>
                    </a:p>
                    <a:p>
                      <a:r>
                        <a:rPr lang="en-US" b="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b="0">
                          <a:solidFill>
                            <a:schemeClr val="tx1"/>
                          </a:solidFill>
                        </a:rPr>
                        <a:t> within Partial Award Eligible bids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2615185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2"/>
                          </a:solidFill>
                        </a:rPr>
                        <a:t>Not Selecte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Bids that were not preliminary selected and have no residual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CBGs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2"/>
                          </a:solidFill>
                        </a:rPr>
                        <a:t>Zero bid</a:t>
                      </a:r>
                    </a:p>
                    <a:p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that did not receive any bids in Tranche-2</a:t>
                      </a:r>
                    </a:p>
                  </a:txBody>
                  <a:tcPr marL="45720" marR="45720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8369115"/>
                  </a:ext>
                </a:extLst>
              </a:tr>
            </a:tbl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7DA847-A20D-B60B-E7CB-FA82CAA5E918}"/>
              </a:ext>
            </a:extLst>
          </p:cNvPr>
          <p:cNvCxnSpPr>
            <a:cxnSpLocks/>
          </p:cNvCxnSpPr>
          <p:nvPr/>
        </p:nvCxnSpPr>
        <p:spPr>
          <a:xfrm>
            <a:off x="6096674" y="1248436"/>
            <a:ext cx="0" cy="4714214"/>
          </a:xfrm>
          <a:prstGeom prst="line">
            <a:avLst/>
          </a:prstGeom>
          <a:ln w="9525" cap="rnd">
            <a:solidFill>
              <a:srgbClr val="7F7F7F"/>
            </a:solidFill>
            <a:prstDash val="lg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AFEEDA4-1FC2-C055-6B17-F097203821FF}"/>
              </a:ext>
            </a:extLst>
          </p:cNvPr>
          <p:cNvGrpSpPr/>
          <p:nvPr/>
        </p:nvGrpSpPr>
        <p:grpSpPr>
          <a:xfrm>
            <a:off x="875502" y="3661266"/>
            <a:ext cx="581759" cy="581759"/>
            <a:chOff x="1088431" y="3462475"/>
            <a:chExt cx="581759" cy="581759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57C7187-41A2-9376-DBB5-0EAEE70BAA5C}"/>
                </a:ext>
              </a:extLst>
            </p:cNvPr>
            <p:cNvSpPr/>
            <p:nvPr/>
          </p:nvSpPr>
          <p:spPr>
            <a:xfrm>
              <a:off x="1088431" y="3462475"/>
              <a:ext cx="581759" cy="581759"/>
            </a:xfrm>
            <a:prstGeom prst="ellipse">
              <a:avLst/>
            </a:prstGeom>
            <a:solidFill>
              <a:sysClr val="window" lastClr="FFFFFF"/>
            </a:solidFill>
            <a:ln w="9525" cap="rnd" cmpd="sng" algn="ctr">
              <a:solidFill>
                <a:srgbClr val="00338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i="0" u="none" strike="noStrike" kern="0" cap="none" spc="0" normalizeH="0" baseline="0" noProof="0">
                <a:ln>
                  <a:noFill/>
                </a:ln>
                <a:solidFill>
                  <a:srgbClr val="003386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33" name="bcgBugs_Broken Puzzle">
              <a:extLst>
                <a:ext uri="{FF2B5EF4-FFF2-40B4-BE49-F238E27FC236}">
                  <a16:creationId xmlns:a16="http://schemas.microsoft.com/office/drawing/2014/main" id="{057E5683-C82A-ED65-C314-5CB382AE0B5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61800" y="3535631"/>
              <a:ext cx="435021" cy="435447"/>
              <a:chOff x="1054473" y="2018273"/>
              <a:chExt cx="3771900" cy="3770312"/>
            </a:xfrm>
          </p:grpSpPr>
          <p:sp>
            <p:nvSpPr>
              <p:cNvPr id="34" name="AutoShape 10">
                <a:extLst>
                  <a:ext uri="{FF2B5EF4-FFF2-40B4-BE49-F238E27FC236}">
                    <a16:creationId xmlns:a16="http://schemas.microsoft.com/office/drawing/2014/main" id="{2DD92E8A-8CE8-77C6-7C5F-EAAF0702414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054473" y="2018273"/>
                <a:ext cx="3771900" cy="37703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C2F37D82-3D3B-90BC-007E-ECE4CA591D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73548" y="2286560"/>
                <a:ext cx="3338513" cy="3154362"/>
              </a:xfrm>
              <a:custGeom>
                <a:avLst/>
                <a:gdLst>
                  <a:gd name="T0" fmla="*/ 612 w 884"/>
                  <a:gd name="T1" fmla="*/ 564 h 836"/>
                  <a:gd name="T2" fmla="*/ 469 w 884"/>
                  <a:gd name="T3" fmla="*/ 595 h 836"/>
                  <a:gd name="T4" fmla="*/ 467 w 884"/>
                  <a:gd name="T5" fmla="*/ 589 h 836"/>
                  <a:gd name="T6" fmla="*/ 471 w 884"/>
                  <a:gd name="T7" fmla="*/ 514 h 836"/>
                  <a:gd name="T8" fmla="*/ 361 w 884"/>
                  <a:gd name="T9" fmla="*/ 638 h 836"/>
                  <a:gd name="T10" fmla="*/ 328 w 884"/>
                  <a:gd name="T11" fmla="*/ 674 h 836"/>
                  <a:gd name="T12" fmla="*/ 316 w 884"/>
                  <a:gd name="T13" fmla="*/ 671 h 836"/>
                  <a:gd name="T14" fmla="*/ 266 w 884"/>
                  <a:gd name="T15" fmla="*/ 743 h 836"/>
                  <a:gd name="T16" fmla="*/ 329 w 884"/>
                  <a:gd name="T17" fmla="*/ 731 h 836"/>
                  <a:gd name="T18" fmla="*/ 355 w 884"/>
                  <a:gd name="T19" fmla="*/ 836 h 836"/>
                  <a:gd name="T20" fmla="*/ 665 w 884"/>
                  <a:gd name="T21" fmla="*/ 522 h 836"/>
                  <a:gd name="T22" fmla="*/ 613 w 884"/>
                  <a:gd name="T23" fmla="*/ 504 h 836"/>
                  <a:gd name="T24" fmla="*/ 54 w 884"/>
                  <a:gd name="T25" fmla="*/ 444 h 836"/>
                  <a:gd name="T26" fmla="*/ 197 w 884"/>
                  <a:gd name="T27" fmla="*/ 415 h 836"/>
                  <a:gd name="T28" fmla="*/ 203 w 884"/>
                  <a:gd name="T29" fmla="*/ 444 h 836"/>
                  <a:gd name="T30" fmla="*/ 203 w 884"/>
                  <a:gd name="T31" fmla="*/ 505 h 836"/>
                  <a:gd name="T32" fmla="*/ 304 w 884"/>
                  <a:gd name="T33" fmla="*/ 370 h 836"/>
                  <a:gd name="T34" fmla="*/ 337 w 884"/>
                  <a:gd name="T35" fmla="*/ 335 h 836"/>
                  <a:gd name="T36" fmla="*/ 349 w 884"/>
                  <a:gd name="T37" fmla="*/ 337 h 836"/>
                  <a:gd name="T38" fmla="*/ 400 w 884"/>
                  <a:gd name="T39" fmla="*/ 265 h 836"/>
                  <a:gd name="T40" fmla="*/ 337 w 884"/>
                  <a:gd name="T41" fmla="*/ 277 h 836"/>
                  <a:gd name="T42" fmla="*/ 310 w 884"/>
                  <a:gd name="T43" fmla="*/ 173 h 836"/>
                  <a:gd name="T44" fmla="*/ 0 w 884"/>
                  <a:gd name="T45" fmla="*/ 486 h 836"/>
                  <a:gd name="T46" fmla="*/ 53 w 884"/>
                  <a:gd name="T47" fmla="*/ 505 h 836"/>
                  <a:gd name="T48" fmla="*/ 660 w 884"/>
                  <a:gd name="T49" fmla="*/ 2 h 836"/>
                  <a:gd name="T50" fmla="*/ 660 w 884"/>
                  <a:gd name="T51" fmla="*/ 82 h 836"/>
                  <a:gd name="T52" fmla="*/ 531 w 884"/>
                  <a:gd name="T53" fmla="*/ 153 h 836"/>
                  <a:gd name="T54" fmla="*/ 535 w 884"/>
                  <a:gd name="T55" fmla="*/ 294 h 836"/>
                  <a:gd name="T56" fmla="*/ 528 w 884"/>
                  <a:gd name="T57" fmla="*/ 361 h 836"/>
                  <a:gd name="T58" fmla="*/ 485 w 884"/>
                  <a:gd name="T59" fmla="*/ 396 h 836"/>
                  <a:gd name="T60" fmla="*/ 483 w 884"/>
                  <a:gd name="T61" fmla="*/ 400 h 836"/>
                  <a:gd name="T62" fmla="*/ 575 w 884"/>
                  <a:gd name="T63" fmla="*/ 410 h 836"/>
                  <a:gd name="T64" fmla="*/ 643 w 884"/>
                  <a:gd name="T65" fmla="*/ 403 h 836"/>
                  <a:gd name="T66" fmla="*/ 878 w 884"/>
                  <a:gd name="T67" fmla="*/ 217 h 836"/>
                  <a:gd name="T68" fmla="*/ 192 w 884"/>
                  <a:gd name="T69" fmla="*/ 702 h 836"/>
                  <a:gd name="T70" fmla="*/ 327 w 884"/>
                  <a:gd name="T71" fmla="*/ 618 h 836"/>
                  <a:gd name="T72" fmla="*/ 204 w 884"/>
                  <a:gd name="T73" fmla="*/ 538 h 836"/>
                  <a:gd name="T74" fmla="*/ 162 w 884"/>
                  <a:gd name="T75" fmla="*/ 486 h 836"/>
                  <a:gd name="T76" fmla="*/ 168 w 884"/>
                  <a:gd name="T77" fmla="*/ 430 h 836"/>
                  <a:gd name="T78" fmla="*/ 165 w 884"/>
                  <a:gd name="T79" fmla="*/ 426 h 836"/>
                  <a:gd name="T80" fmla="*/ 93 w 884"/>
                  <a:gd name="T81" fmla="*/ 484 h 836"/>
                  <a:gd name="T82" fmla="*/ 51 w 884"/>
                  <a:gd name="T83" fmla="*/ 538 h 836"/>
                  <a:gd name="T84" fmla="*/ 18 w 884"/>
                  <a:gd name="T85" fmla="*/ 836 h 836"/>
                  <a:gd name="T86" fmla="*/ 326 w 884"/>
                  <a:gd name="T87" fmla="*/ 786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84" h="836">
                    <a:moveTo>
                      <a:pt x="613" y="504"/>
                    </a:moveTo>
                    <a:cubicBezTo>
                      <a:pt x="607" y="504"/>
                      <a:pt x="602" y="509"/>
                      <a:pt x="604" y="515"/>
                    </a:cubicBezTo>
                    <a:cubicBezTo>
                      <a:pt x="607" y="529"/>
                      <a:pt x="612" y="553"/>
                      <a:pt x="612" y="564"/>
                    </a:cubicBezTo>
                    <a:cubicBezTo>
                      <a:pt x="612" y="605"/>
                      <a:pt x="578" y="638"/>
                      <a:pt x="538" y="638"/>
                    </a:cubicBezTo>
                    <a:cubicBezTo>
                      <a:pt x="508" y="638"/>
                      <a:pt x="482" y="621"/>
                      <a:pt x="469" y="596"/>
                    </a:cubicBezTo>
                    <a:cubicBezTo>
                      <a:pt x="469" y="595"/>
                      <a:pt x="469" y="595"/>
                      <a:pt x="469" y="595"/>
                    </a:cubicBezTo>
                    <a:cubicBezTo>
                      <a:pt x="469" y="595"/>
                      <a:pt x="469" y="594"/>
                      <a:pt x="469" y="593"/>
                    </a:cubicBezTo>
                    <a:cubicBezTo>
                      <a:pt x="468" y="592"/>
                      <a:pt x="468" y="592"/>
                      <a:pt x="468" y="591"/>
                    </a:cubicBezTo>
                    <a:cubicBezTo>
                      <a:pt x="467" y="590"/>
                      <a:pt x="467" y="590"/>
                      <a:pt x="467" y="589"/>
                    </a:cubicBezTo>
                    <a:cubicBezTo>
                      <a:pt x="464" y="582"/>
                      <a:pt x="463" y="573"/>
                      <a:pt x="463" y="564"/>
                    </a:cubicBezTo>
                    <a:cubicBezTo>
                      <a:pt x="463" y="559"/>
                      <a:pt x="463" y="559"/>
                      <a:pt x="463" y="559"/>
                    </a:cubicBezTo>
                    <a:cubicBezTo>
                      <a:pt x="463" y="549"/>
                      <a:pt x="468" y="528"/>
                      <a:pt x="471" y="514"/>
                    </a:cubicBezTo>
                    <a:cubicBezTo>
                      <a:pt x="472" y="508"/>
                      <a:pt x="468" y="503"/>
                      <a:pt x="462" y="503"/>
                    </a:cubicBezTo>
                    <a:cubicBezTo>
                      <a:pt x="425" y="505"/>
                      <a:pt x="352" y="523"/>
                      <a:pt x="352" y="523"/>
                    </a:cubicBezTo>
                    <a:cubicBezTo>
                      <a:pt x="358" y="561"/>
                      <a:pt x="359" y="591"/>
                      <a:pt x="361" y="638"/>
                    </a:cubicBezTo>
                    <a:cubicBezTo>
                      <a:pt x="361" y="647"/>
                      <a:pt x="358" y="655"/>
                      <a:pt x="352" y="662"/>
                    </a:cubicBezTo>
                    <a:cubicBezTo>
                      <a:pt x="346" y="669"/>
                      <a:pt x="338" y="673"/>
                      <a:pt x="329" y="674"/>
                    </a:cubicBezTo>
                    <a:cubicBezTo>
                      <a:pt x="329" y="674"/>
                      <a:pt x="329" y="674"/>
                      <a:pt x="328" y="674"/>
                    </a:cubicBezTo>
                    <a:cubicBezTo>
                      <a:pt x="325" y="674"/>
                      <a:pt x="322" y="673"/>
                      <a:pt x="320" y="672"/>
                    </a:cubicBezTo>
                    <a:cubicBezTo>
                      <a:pt x="319" y="672"/>
                      <a:pt x="318" y="672"/>
                      <a:pt x="318" y="672"/>
                    </a:cubicBezTo>
                    <a:cubicBezTo>
                      <a:pt x="318" y="672"/>
                      <a:pt x="318" y="672"/>
                      <a:pt x="316" y="671"/>
                    </a:cubicBezTo>
                    <a:cubicBezTo>
                      <a:pt x="300" y="665"/>
                      <a:pt x="280" y="661"/>
                      <a:pt x="266" y="661"/>
                    </a:cubicBezTo>
                    <a:cubicBezTo>
                      <a:pt x="243" y="661"/>
                      <a:pt x="225" y="679"/>
                      <a:pt x="225" y="702"/>
                    </a:cubicBezTo>
                    <a:cubicBezTo>
                      <a:pt x="225" y="725"/>
                      <a:pt x="244" y="743"/>
                      <a:pt x="266" y="743"/>
                    </a:cubicBezTo>
                    <a:cubicBezTo>
                      <a:pt x="279" y="743"/>
                      <a:pt x="298" y="739"/>
                      <a:pt x="316" y="733"/>
                    </a:cubicBezTo>
                    <a:cubicBezTo>
                      <a:pt x="321" y="731"/>
                      <a:pt x="325" y="731"/>
                      <a:pt x="328" y="731"/>
                    </a:cubicBezTo>
                    <a:cubicBezTo>
                      <a:pt x="328" y="731"/>
                      <a:pt x="328" y="731"/>
                      <a:pt x="329" y="731"/>
                    </a:cubicBezTo>
                    <a:cubicBezTo>
                      <a:pt x="338" y="732"/>
                      <a:pt x="346" y="735"/>
                      <a:pt x="352" y="742"/>
                    </a:cubicBezTo>
                    <a:cubicBezTo>
                      <a:pt x="358" y="749"/>
                      <a:pt x="361" y="757"/>
                      <a:pt x="361" y="766"/>
                    </a:cubicBezTo>
                    <a:cubicBezTo>
                      <a:pt x="359" y="793"/>
                      <a:pt x="358" y="815"/>
                      <a:pt x="355" y="836"/>
                    </a:cubicBezTo>
                    <a:cubicBezTo>
                      <a:pt x="355" y="836"/>
                      <a:pt x="355" y="836"/>
                      <a:pt x="648" y="836"/>
                    </a:cubicBezTo>
                    <a:cubicBezTo>
                      <a:pt x="657" y="836"/>
                      <a:pt x="665" y="828"/>
                      <a:pt x="665" y="819"/>
                    </a:cubicBezTo>
                    <a:cubicBezTo>
                      <a:pt x="665" y="762"/>
                      <a:pt x="665" y="577"/>
                      <a:pt x="665" y="522"/>
                    </a:cubicBezTo>
                    <a:cubicBezTo>
                      <a:pt x="665" y="511"/>
                      <a:pt x="665" y="521"/>
                      <a:pt x="665" y="507"/>
                    </a:cubicBezTo>
                    <a:cubicBezTo>
                      <a:pt x="663" y="507"/>
                      <a:pt x="663" y="507"/>
                      <a:pt x="663" y="507"/>
                    </a:cubicBezTo>
                    <a:cubicBezTo>
                      <a:pt x="647" y="505"/>
                      <a:pt x="631" y="505"/>
                      <a:pt x="613" y="504"/>
                    </a:cubicBezTo>
                    <a:close/>
                    <a:moveTo>
                      <a:pt x="53" y="505"/>
                    </a:moveTo>
                    <a:cubicBezTo>
                      <a:pt x="59" y="505"/>
                      <a:pt x="63" y="499"/>
                      <a:pt x="62" y="493"/>
                    </a:cubicBezTo>
                    <a:cubicBezTo>
                      <a:pt x="58" y="479"/>
                      <a:pt x="54" y="455"/>
                      <a:pt x="54" y="444"/>
                    </a:cubicBezTo>
                    <a:cubicBezTo>
                      <a:pt x="54" y="403"/>
                      <a:pt x="87" y="370"/>
                      <a:pt x="128" y="370"/>
                    </a:cubicBezTo>
                    <a:cubicBezTo>
                      <a:pt x="158" y="370"/>
                      <a:pt x="183" y="387"/>
                      <a:pt x="195" y="412"/>
                    </a:cubicBezTo>
                    <a:cubicBezTo>
                      <a:pt x="196" y="414"/>
                      <a:pt x="196" y="415"/>
                      <a:pt x="197" y="415"/>
                    </a:cubicBezTo>
                    <a:cubicBezTo>
                      <a:pt x="197" y="416"/>
                      <a:pt x="198" y="417"/>
                      <a:pt x="198" y="418"/>
                    </a:cubicBezTo>
                    <a:cubicBezTo>
                      <a:pt x="198" y="418"/>
                      <a:pt x="198" y="418"/>
                      <a:pt x="198" y="418"/>
                    </a:cubicBezTo>
                    <a:cubicBezTo>
                      <a:pt x="201" y="427"/>
                      <a:pt x="203" y="435"/>
                      <a:pt x="203" y="444"/>
                    </a:cubicBezTo>
                    <a:cubicBezTo>
                      <a:pt x="203" y="449"/>
                      <a:pt x="203" y="449"/>
                      <a:pt x="203" y="449"/>
                    </a:cubicBezTo>
                    <a:cubicBezTo>
                      <a:pt x="202" y="459"/>
                      <a:pt x="198" y="481"/>
                      <a:pt x="194" y="493"/>
                    </a:cubicBezTo>
                    <a:cubicBezTo>
                      <a:pt x="192" y="499"/>
                      <a:pt x="197" y="505"/>
                      <a:pt x="203" y="505"/>
                    </a:cubicBezTo>
                    <a:cubicBezTo>
                      <a:pt x="241" y="503"/>
                      <a:pt x="277" y="500"/>
                      <a:pt x="314" y="496"/>
                    </a:cubicBezTo>
                    <a:cubicBezTo>
                      <a:pt x="315" y="495"/>
                      <a:pt x="315" y="495"/>
                      <a:pt x="315" y="495"/>
                    </a:cubicBezTo>
                    <a:cubicBezTo>
                      <a:pt x="310" y="457"/>
                      <a:pt x="307" y="417"/>
                      <a:pt x="304" y="370"/>
                    </a:cubicBezTo>
                    <a:cubicBezTo>
                      <a:pt x="304" y="362"/>
                      <a:pt x="307" y="353"/>
                      <a:pt x="313" y="346"/>
                    </a:cubicBezTo>
                    <a:cubicBezTo>
                      <a:pt x="319" y="339"/>
                      <a:pt x="328" y="335"/>
                      <a:pt x="337" y="335"/>
                    </a:cubicBezTo>
                    <a:cubicBezTo>
                      <a:pt x="337" y="335"/>
                      <a:pt x="337" y="335"/>
                      <a:pt x="337" y="335"/>
                    </a:cubicBezTo>
                    <a:cubicBezTo>
                      <a:pt x="340" y="335"/>
                      <a:pt x="343" y="335"/>
                      <a:pt x="346" y="336"/>
                    </a:cubicBezTo>
                    <a:cubicBezTo>
                      <a:pt x="346" y="336"/>
                      <a:pt x="348" y="336"/>
                      <a:pt x="348" y="336"/>
                    </a:cubicBezTo>
                    <a:cubicBezTo>
                      <a:pt x="349" y="337"/>
                      <a:pt x="349" y="337"/>
                      <a:pt x="349" y="337"/>
                    </a:cubicBezTo>
                    <a:cubicBezTo>
                      <a:pt x="366" y="343"/>
                      <a:pt x="386" y="347"/>
                      <a:pt x="400" y="347"/>
                    </a:cubicBezTo>
                    <a:cubicBezTo>
                      <a:pt x="422" y="347"/>
                      <a:pt x="440" y="329"/>
                      <a:pt x="440" y="306"/>
                    </a:cubicBezTo>
                    <a:cubicBezTo>
                      <a:pt x="440" y="284"/>
                      <a:pt x="422" y="265"/>
                      <a:pt x="400" y="265"/>
                    </a:cubicBezTo>
                    <a:cubicBezTo>
                      <a:pt x="387" y="265"/>
                      <a:pt x="367" y="269"/>
                      <a:pt x="349" y="275"/>
                    </a:cubicBezTo>
                    <a:cubicBezTo>
                      <a:pt x="345" y="277"/>
                      <a:pt x="340" y="277"/>
                      <a:pt x="337" y="277"/>
                    </a:cubicBezTo>
                    <a:cubicBezTo>
                      <a:pt x="337" y="277"/>
                      <a:pt x="337" y="277"/>
                      <a:pt x="337" y="277"/>
                    </a:cubicBezTo>
                    <a:cubicBezTo>
                      <a:pt x="328" y="277"/>
                      <a:pt x="319" y="272"/>
                      <a:pt x="313" y="266"/>
                    </a:cubicBezTo>
                    <a:cubicBezTo>
                      <a:pt x="307" y="260"/>
                      <a:pt x="304" y="251"/>
                      <a:pt x="305" y="242"/>
                    </a:cubicBezTo>
                    <a:cubicBezTo>
                      <a:pt x="306" y="215"/>
                      <a:pt x="307" y="193"/>
                      <a:pt x="310" y="173"/>
                    </a:cubicBezTo>
                    <a:cubicBezTo>
                      <a:pt x="17" y="173"/>
                      <a:pt x="17" y="173"/>
                      <a:pt x="17" y="173"/>
                    </a:cubicBezTo>
                    <a:cubicBezTo>
                      <a:pt x="8" y="173"/>
                      <a:pt x="0" y="180"/>
                      <a:pt x="0" y="189"/>
                    </a:cubicBezTo>
                    <a:cubicBezTo>
                      <a:pt x="0" y="486"/>
                      <a:pt x="0" y="486"/>
                      <a:pt x="0" y="486"/>
                    </a:cubicBezTo>
                    <a:cubicBezTo>
                      <a:pt x="0" y="496"/>
                      <a:pt x="0" y="487"/>
                      <a:pt x="0" y="501"/>
                    </a:cubicBezTo>
                    <a:cubicBezTo>
                      <a:pt x="3" y="501"/>
                      <a:pt x="3" y="501"/>
                      <a:pt x="3" y="501"/>
                    </a:cubicBezTo>
                    <a:cubicBezTo>
                      <a:pt x="18" y="502"/>
                      <a:pt x="35" y="504"/>
                      <a:pt x="53" y="505"/>
                    </a:cubicBezTo>
                    <a:close/>
                    <a:moveTo>
                      <a:pt x="878" y="217"/>
                    </a:moveTo>
                    <a:cubicBezTo>
                      <a:pt x="878" y="217"/>
                      <a:pt x="878" y="217"/>
                      <a:pt x="661" y="0"/>
                    </a:cubicBezTo>
                    <a:cubicBezTo>
                      <a:pt x="661" y="0"/>
                      <a:pt x="661" y="0"/>
                      <a:pt x="660" y="2"/>
                    </a:cubicBezTo>
                    <a:cubicBezTo>
                      <a:pt x="651" y="9"/>
                      <a:pt x="636" y="22"/>
                      <a:pt x="624" y="32"/>
                    </a:cubicBezTo>
                    <a:cubicBezTo>
                      <a:pt x="617" y="40"/>
                      <a:pt x="617" y="53"/>
                      <a:pt x="627" y="58"/>
                    </a:cubicBezTo>
                    <a:cubicBezTo>
                      <a:pt x="639" y="66"/>
                      <a:pt x="654" y="76"/>
                      <a:pt x="660" y="82"/>
                    </a:cubicBezTo>
                    <a:cubicBezTo>
                      <a:pt x="689" y="111"/>
                      <a:pt x="688" y="158"/>
                      <a:pt x="660" y="187"/>
                    </a:cubicBezTo>
                    <a:cubicBezTo>
                      <a:pt x="630" y="216"/>
                      <a:pt x="585" y="216"/>
                      <a:pt x="555" y="187"/>
                    </a:cubicBezTo>
                    <a:cubicBezTo>
                      <a:pt x="548" y="180"/>
                      <a:pt x="539" y="165"/>
                      <a:pt x="531" y="153"/>
                    </a:cubicBezTo>
                    <a:cubicBezTo>
                      <a:pt x="525" y="144"/>
                      <a:pt x="512" y="143"/>
                      <a:pt x="505" y="151"/>
                    </a:cubicBezTo>
                    <a:cubicBezTo>
                      <a:pt x="483" y="176"/>
                      <a:pt x="458" y="204"/>
                      <a:pt x="441" y="227"/>
                    </a:cubicBezTo>
                    <a:cubicBezTo>
                      <a:pt x="441" y="227"/>
                      <a:pt x="507" y="268"/>
                      <a:pt x="535" y="294"/>
                    </a:cubicBezTo>
                    <a:cubicBezTo>
                      <a:pt x="535" y="294"/>
                      <a:pt x="536" y="295"/>
                      <a:pt x="536" y="295"/>
                    </a:cubicBezTo>
                    <a:cubicBezTo>
                      <a:pt x="549" y="307"/>
                      <a:pt x="552" y="326"/>
                      <a:pt x="544" y="343"/>
                    </a:cubicBezTo>
                    <a:cubicBezTo>
                      <a:pt x="541" y="351"/>
                      <a:pt x="535" y="357"/>
                      <a:pt x="528" y="361"/>
                    </a:cubicBezTo>
                    <a:cubicBezTo>
                      <a:pt x="509" y="373"/>
                      <a:pt x="499" y="379"/>
                      <a:pt x="496" y="383"/>
                    </a:cubicBezTo>
                    <a:cubicBezTo>
                      <a:pt x="495" y="384"/>
                      <a:pt x="494" y="384"/>
                      <a:pt x="494" y="385"/>
                    </a:cubicBezTo>
                    <a:cubicBezTo>
                      <a:pt x="490" y="388"/>
                      <a:pt x="487" y="392"/>
                      <a:pt x="485" y="396"/>
                    </a:cubicBezTo>
                    <a:cubicBezTo>
                      <a:pt x="485" y="396"/>
                      <a:pt x="485" y="396"/>
                      <a:pt x="484" y="398"/>
                    </a:cubicBezTo>
                    <a:cubicBezTo>
                      <a:pt x="484" y="400"/>
                      <a:pt x="484" y="400"/>
                      <a:pt x="484" y="400"/>
                    </a:cubicBezTo>
                    <a:cubicBezTo>
                      <a:pt x="484" y="400"/>
                      <a:pt x="484" y="400"/>
                      <a:pt x="483" y="400"/>
                    </a:cubicBezTo>
                    <a:cubicBezTo>
                      <a:pt x="479" y="415"/>
                      <a:pt x="482" y="432"/>
                      <a:pt x="494" y="444"/>
                    </a:cubicBezTo>
                    <a:cubicBezTo>
                      <a:pt x="510" y="460"/>
                      <a:pt x="536" y="460"/>
                      <a:pt x="552" y="444"/>
                    </a:cubicBezTo>
                    <a:cubicBezTo>
                      <a:pt x="555" y="442"/>
                      <a:pt x="562" y="432"/>
                      <a:pt x="575" y="410"/>
                    </a:cubicBezTo>
                    <a:cubicBezTo>
                      <a:pt x="582" y="400"/>
                      <a:pt x="592" y="392"/>
                      <a:pt x="604" y="390"/>
                    </a:cubicBezTo>
                    <a:cubicBezTo>
                      <a:pt x="618" y="387"/>
                      <a:pt x="632" y="392"/>
                      <a:pt x="642" y="401"/>
                    </a:cubicBezTo>
                    <a:cubicBezTo>
                      <a:pt x="642" y="402"/>
                      <a:pt x="643" y="402"/>
                      <a:pt x="643" y="403"/>
                    </a:cubicBezTo>
                    <a:cubicBezTo>
                      <a:pt x="655" y="416"/>
                      <a:pt x="666" y="428"/>
                      <a:pt x="677" y="441"/>
                    </a:cubicBezTo>
                    <a:cubicBezTo>
                      <a:pt x="677" y="441"/>
                      <a:pt x="677" y="441"/>
                      <a:pt x="878" y="240"/>
                    </a:cubicBezTo>
                    <a:cubicBezTo>
                      <a:pt x="884" y="234"/>
                      <a:pt x="884" y="223"/>
                      <a:pt x="878" y="217"/>
                    </a:cubicBezTo>
                    <a:close/>
                    <a:moveTo>
                      <a:pt x="306" y="769"/>
                    </a:moveTo>
                    <a:cubicBezTo>
                      <a:pt x="292" y="773"/>
                      <a:pt x="275" y="776"/>
                      <a:pt x="266" y="776"/>
                    </a:cubicBezTo>
                    <a:cubicBezTo>
                      <a:pt x="225" y="776"/>
                      <a:pt x="192" y="743"/>
                      <a:pt x="192" y="702"/>
                    </a:cubicBezTo>
                    <a:cubicBezTo>
                      <a:pt x="192" y="660"/>
                      <a:pt x="225" y="628"/>
                      <a:pt x="266" y="628"/>
                    </a:cubicBezTo>
                    <a:cubicBezTo>
                      <a:pt x="275" y="628"/>
                      <a:pt x="293" y="631"/>
                      <a:pt x="307" y="634"/>
                    </a:cubicBezTo>
                    <a:cubicBezTo>
                      <a:pt x="317" y="636"/>
                      <a:pt x="328" y="628"/>
                      <a:pt x="327" y="618"/>
                    </a:cubicBezTo>
                    <a:cubicBezTo>
                      <a:pt x="325" y="585"/>
                      <a:pt x="322" y="556"/>
                      <a:pt x="319" y="528"/>
                    </a:cubicBezTo>
                    <a:cubicBezTo>
                      <a:pt x="319" y="528"/>
                      <a:pt x="319" y="528"/>
                      <a:pt x="319" y="528"/>
                    </a:cubicBezTo>
                    <a:cubicBezTo>
                      <a:pt x="280" y="533"/>
                      <a:pt x="243" y="536"/>
                      <a:pt x="204" y="538"/>
                    </a:cubicBezTo>
                    <a:cubicBezTo>
                      <a:pt x="204" y="538"/>
                      <a:pt x="204" y="538"/>
                      <a:pt x="203" y="538"/>
                    </a:cubicBezTo>
                    <a:cubicBezTo>
                      <a:pt x="186" y="538"/>
                      <a:pt x="169" y="527"/>
                      <a:pt x="163" y="510"/>
                    </a:cubicBezTo>
                    <a:cubicBezTo>
                      <a:pt x="160" y="502"/>
                      <a:pt x="160" y="493"/>
                      <a:pt x="162" y="486"/>
                    </a:cubicBezTo>
                    <a:cubicBezTo>
                      <a:pt x="168" y="464"/>
                      <a:pt x="169" y="451"/>
                      <a:pt x="170" y="448"/>
                    </a:cubicBezTo>
                    <a:cubicBezTo>
                      <a:pt x="170" y="444"/>
                      <a:pt x="170" y="444"/>
                      <a:pt x="170" y="444"/>
                    </a:cubicBezTo>
                    <a:cubicBezTo>
                      <a:pt x="170" y="439"/>
                      <a:pt x="169" y="435"/>
                      <a:pt x="168" y="430"/>
                    </a:cubicBezTo>
                    <a:cubicBezTo>
                      <a:pt x="166" y="428"/>
                      <a:pt x="166" y="428"/>
                      <a:pt x="166" y="428"/>
                    </a:cubicBezTo>
                    <a:cubicBezTo>
                      <a:pt x="166" y="428"/>
                      <a:pt x="166" y="427"/>
                      <a:pt x="166" y="427"/>
                    </a:cubicBezTo>
                    <a:cubicBezTo>
                      <a:pt x="165" y="426"/>
                      <a:pt x="165" y="426"/>
                      <a:pt x="165" y="426"/>
                    </a:cubicBezTo>
                    <a:cubicBezTo>
                      <a:pt x="159" y="412"/>
                      <a:pt x="144" y="403"/>
                      <a:pt x="128" y="403"/>
                    </a:cubicBezTo>
                    <a:cubicBezTo>
                      <a:pt x="105" y="403"/>
                      <a:pt x="87" y="421"/>
                      <a:pt x="87" y="444"/>
                    </a:cubicBezTo>
                    <a:cubicBezTo>
                      <a:pt x="87" y="448"/>
                      <a:pt x="88" y="460"/>
                      <a:pt x="93" y="484"/>
                    </a:cubicBezTo>
                    <a:cubicBezTo>
                      <a:pt x="96" y="496"/>
                      <a:pt x="95" y="509"/>
                      <a:pt x="87" y="519"/>
                    </a:cubicBezTo>
                    <a:cubicBezTo>
                      <a:pt x="80" y="531"/>
                      <a:pt x="67" y="538"/>
                      <a:pt x="53" y="538"/>
                    </a:cubicBezTo>
                    <a:cubicBezTo>
                      <a:pt x="52" y="538"/>
                      <a:pt x="51" y="538"/>
                      <a:pt x="51" y="538"/>
                    </a:cubicBezTo>
                    <a:cubicBezTo>
                      <a:pt x="33" y="537"/>
                      <a:pt x="18" y="535"/>
                      <a:pt x="2" y="534"/>
                    </a:cubicBezTo>
                    <a:cubicBezTo>
                      <a:pt x="2" y="819"/>
                      <a:pt x="2" y="819"/>
                      <a:pt x="2" y="819"/>
                    </a:cubicBezTo>
                    <a:cubicBezTo>
                      <a:pt x="2" y="828"/>
                      <a:pt x="9" y="836"/>
                      <a:pt x="18" y="836"/>
                    </a:cubicBezTo>
                    <a:cubicBezTo>
                      <a:pt x="322" y="836"/>
                      <a:pt x="322" y="836"/>
                      <a:pt x="322" y="836"/>
                    </a:cubicBezTo>
                    <a:cubicBezTo>
                      <a:pt x="323" y="832"/>
                      <a:pt x="323" y="832"/>
                      <a:pt x="323" y="832"/>
                    </a:cubicBezTo>
                    <a:cubicBezTo>
                      <a:pt x="324" y="822"/>
                      <a:pt x="325" y="802"/>
                      <a:pt x="326" y="786"/>
                    </a:cubicBezTo>
                    <a:cubicBezTo>
                      <a:pt x="327" y="775"/>
                      <a:pt x="316" y="767"/>
                      <a:pt x="306" y="7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30186D64-B275-127B-4E78-AE84D0906A07}"/>
              </a:ext>
            </a:extLst>
          </p:cNvPr>
          <p:cNvGrpSpPr/>
          <p:nvPr/>
        </p:nvGrpSpPr>
        <p:grpSpPr>
          <a:xfrm>
            <a:off x="6435329" y="4849986"/>
            <a:ext cx="581759" cy="581759"/>
            <a:chOff x="6514583" y="4890473"/>
            <a:chExt cx="581759" cy="581759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7376F694-D309-F1F5-2692-C8D6BAE5B456}"/>
                </a:ext>
              </a:extLst>
            </p:cNvPr>
            <p:cNvSpPr/>
            <p:nvPr/>
          </p:nvSpPr>
          <p:spPr>
            <a:xfrm>
              <a:off x="6514583" y="4890473"/>
              <a:ext cx="581759" cy="581759"/>
            </a:xfrm>
            <a:prstGeom prst="ellipse">
              <a:avLst/>
            </a:prstGeom>
            <a:solidFill>
              <a:sysClr val="window" lastClr="FFFFFF"/>
            </a:solidFill>
            <a:ln w="9525" cap="rnd" cmpd="sng" algn="ctr">
              <a:solidFill>
                <a:srgbClr val="00338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i="0" u="none" strike="noStrike" kern="0" cap="none" spc="0" normalizeH="0" baseline="0" noProof="0">
                <a:ln>
                  <a:noFill/>
                </a:ln>
                <a:solidFill>
                  <a:srgbClr val="003386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36" name="bcgBugs_Prohibition ">
              <a:extLst>
                <a:ext uri="{FF2B5EF4-FFF2-40B4-BE49-F238E27FC236}">
                  <a16:creationId xmlns:a16="http://schemas.microsoft.com/office/drawing/2014/main" id="{DCFC0D6D-AE4C-EE01-B104-15AF9D4CE8A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587739" y="4963628"/>
              <a:ext cx="435447" cy="435447"/>
              <a:chOff x="7324950" y="3200401"/>
              <a:chExt cx="457200" cy="457200"/>
            </a:xfrm>
          </p:grpSpPr>
          <p:sp>
            <p:nvSpPr>
              <p:cNvPr id="37" name="AutoShape 5">
                <a:extLst>
                  <a:ext uri="{FF2B5EF4-FFF2-40B4-BE49-F238E27FC236}">
                    <a16:creationId xmlns:a16="http://schemas.microsoft.com/office/drawing/2014/main" id="{2601A2B7-8B7C-3BD6-15D8-E924A399451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324950" y="3200401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7">
                <a:extLst>
                  <a:ext uri="{FF2B5EF4-FFF2-40B4-BE49-F238E27FC236}">
                    <a16:creationId xmlns:a16="http://schemas.microsoft.com/office/drawing/2014/main" id="{6BDE80F8-4A47-161B-584E-F8D2D8838C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2467" y="3227918"/>
                <a:ext cx="400435" cy="400435"/>
              </a:xfrm>
              <a:custGeom>
                <a:avLst/>
                <a:gdLst>
                  <a:gd name="T0" fmla="*/ 438 w 875"/>
                  <a:gd name="T1" fmla="*/ 0 h 875"/>
                  <a:gd name="T2" fmla="*/ 0 w 875"/>
                  <a:gd name="T3" fmla="*/ 438 h 875"/>
                  <a:gd name="T4" fmla="*/ 438 w 875"/>
                  <a:gd name="T5" fmla="*/ 875 h 875"/>
                  <a:gd name="T6" fmla="*/ 875 w 875"/>
                  <a:gd name="T7" fmla="*/ 438 h 875"/>
                  <a:gd name="T8" fmla="*/ 438 w 875"/>
                  <a:gd name="T9" fmla="*/ 0 h 875"/>
                  <a:gd name="T10" fmla="*/ 438 w 875"/>
                  <a:gd name="T11" fmla="*/ 748 h 875"/>
                  <a:gd name="T12" fmla="*/ 127 w 875"/>
                  <a:gd name="T13" fmla="*/ 438 h 875"/>
                  <a:gd name="T14" fmla="*/ 155 w 875"/>
                  <a:gd name="T15" fmla="*/ 308 h 875"/>
                  <a:gd name="T16" fmla="*/ 646 w 875"/>
                  <a:gd name="T17" fmla="*/ 668 h 875"/>
                  <a:gd name="T18" fmla="*/ 438 w 875"/>
                  <a:gd name="T19" fmla="*/ 748 h 875"/>
                  <a:gd name="T20" fmla="*/ 720 w 875"/>
                  <a:gd name="T21" fmla="*/ 567 h 875"/>
                  <a:gd name="T22" fmla="*/ 229 w 875"/>
                  <a:gd name="T23" fmla="*/ 208 h 875"/>
                  <a:gd name="T24" fmla="*/ 438 w 875"/>
                  <a:gd name="T25" fmla="*/ 127 h 875"/>
                  <a:gd name="T26" fmla="*/ 748 w 875"/>
                  <a:gd name="T27" fmla="*/ 438 h 875"/>
                  <a:gd name="T28" fmla="*/ 720 w 875"/>
                  <a:gd name="T29" fmla="*/ 567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5" h="875">
                    <a:moveTo>
                      <a:pt x="438" y="0"/>
                    </a:moveTo>
                    <a:cubicBezTo>
                      <a:pt x="197" y="0"/>
                      <a:pt x="0" y="197"/>
                      <a:pt x="0" y="438"/>
                    </a:cubicBezTo>
                    <a:cubicBezTo>
                      <a:pt x="0" y="679"/>
                      <a:pt x="197" y="875"/>
                      <a:pt x="438" y="875"/>
                    </a:cubicBezTo>
                    <a:cubicBezTo>
                      <a:pt x="679" y="875"/>
                      <a:pt x="875" y="679"/>
                      <a:pt x="875" y="438"/>
                    </a:cubicBezTo>
                    <a:cubicBezTo>
                      <a:pt x="875" y="197"/>
                      <a:pt x="679" y="0"/>
                      <a:pt x="438" y="0"/>
                    </a:cubicBezTo>
                    <a:close/>
                    <a:moveTo>
                      <a:pt x="438" y="748"/>
                    </a:moveTo>
                    <a:cubicBezTo>
                      <a:pt x="267" y="748"/>
                      <a:pt x="127" y="609"/>
                      <a:pt x="127" y="438"/>
                    </a:cubicBezTo>
                    <a:cubicBezTo>
                      <a:pt x="127" y="392"/>
                      <a:pt x="137" y="348"/>
                      <a:pt x="155" y="308"/>
                    </a:cubicBezTo>
                    <a:cubicBezTo>
                      <a:pt x="646" y="668"/>
                      <a:pt x="646" y="668"/>
                      <a:pt x="646" y="668"/>
                    </a:cubicBezTo>
                    <a:cubicBezTo>
                      <a:pt x="591" y="717"/>
                      <a:pt x="518" y="748"/>
                      <a:pt x="438" y="748"/>
                    </a:cubicBezTo>
                    <a:close/>
                    <a:moveTo>
                      <a:pt x="720" y="567"/>
                    </a:moveTo>
                    <a:cubicBezTo>
                      <a:pt x="229" y="208"/>
                      <a:pt x="229" y="208"/>
                      <a:pt x="229" y="208"/>
                    </a:cubicBezTo>
                    <a:cubicBezTo>
                      <a:pt x="284" y="158"/>
                      <a:pt x="357" y="127"/>
                      <a:pt x="438" y="127"/>
                    </a:cubicBezTo>
                    <a:cubicBezTo>
                      <a:pt x="609" y="127"/>
                      <a:pt x="748" y="267"/>
                      <a:pt x="748" y="438"/>
                    </a:cubicBezTo>
                    <a:cubicBezTo>
                      <a:pt x="748" y="484"/>
                      <a:pt x="738" y="528"/>
                      <a:pt x="720" y="56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7A8534A9-1631-5FCD-68DD-225743941D5F}"/>
              </a:ext>
            </a:extLst>
          </p:cNvPr>
          <p:cNvGrpSpPr/>
          <p:nvPr/>
        </p:nvGrpSpPr>
        <p:grpSpPr>
          <a:xfrm>
            <a:off x="875502" y="2472547"/>
            <a:ext cx="581759" cy="581759"/>
            <a:chOff x="1088431" y="2214700"/>
            <a:chExt cx="581759" cy="581759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85B3B69-D3AA-FF17-A032-4F23534A6D2F}"/>
                </a:ext>
              </a:extLst>
            </p:cNvPr>
            <p:cNvSpPr/>
            <p:nvPr/>
          </p:nvSpPr>
          <p:spPr>
            <a:xfrm>
              <a:off x="1088431" y="2214700"/>
              <a:ext cx="581759" cy="581759"/>
            </a:xfrm>
            <a:prstGeom prst="ellipse">
              <a:avLst/>
            </a:prstGeom>
            <a:solidFill>
              <a:sysClr val="window" lastClr="FFFFFF"/>
            </a:solidFill>
            <a:ln w="9525" cap="rnd" cmpd="sng" algn="ctr">
              <a:solidFill>
                <a:srgbClr val="00338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i="0" u="none" strike="noStrike" kern="0" cap="none" spc="0" normalizeH="0" baseline="0" noProof="0">
                <a:ln>
                  <a:noFill/>
                </a:ln>
                <a:solidFill>
                  <a:srgbClr val="003386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52" name="bcgBugs_">
              <a:extLst>
                <a:ext uri="{FF2B5EF4-FFF2-40B4-BE49-F238E27FC236}">
                  <a16:creationId xmlns:a16="http://schemas.microsoft.com/office/drawing/2014/main" id="{AD240C85-FFD5-6917-C968-E5C36D404CC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61800" y="2287856"/>
              <a:ext cx="435021" cy="435447"/>
              <a:chOff x="2818" y="1137"/>
              <a:chExt cx="2044" cy="2046"/>
            </a:xfrm>
          </p:grpSpPr>
          <p:sp>
            <p:nvSpPr>
              <p:cNvPr id="53" name="AutoShape 3">
                <a:extLst>
                  <a:ext uri="{FF2B5EF4-FFF2-40B4-BE49-F238E27FC236}">
                    <a16:creationId xmlns:a16="http://schemas.microsoft.com/office/drawing/2014/main" id="{AB9031AE-A1C5-4C02-0FA9-39054A872C0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7">
                <a:extLst>
                  <a:ext uri="{FF2B5EF4-FFF2-40B4-BE49-F238E27FC236}">
                    <a16:creationId xmlns:a16="http://schemas.microsoft.com/office/drawing/2014/main" id="{F972FC29-8687-76A0-D958-9D7563684A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6" y="1272"/>
                <a:ext cx="1168" cy="1792"/>
              </a:xfrm>
              <a:custGeom>
                <a:avLst/>
                <a:gdLst>
                  <a:gd name="T0" fmla="*/ 405 w 571"/>
                  <a:gd name="T1" fmla="*/ 541 h 875"/>
                  <a:gd name="T2" fmla="*/ 405 w 571"/>
                  <a:gd name="T3" fmla="*/ 870 h 875"/>
                  <a:gd name="T4" fmla="*/ 397 w 571"/>
                  <a:gd name="T5" fmla="*/ 873 h 875"/>
                  <a:gd name="T6" fmla="*/ 286 w 571"/>
                  <a:gd name="T7" fmla="*/ 783 h 875"/>
                  <a:gd name="T8" fmla="*/ 174 w 571"/>
                  <a:gd name="T9" fmla="*/ 873 h 875"/>
                  <a:gd name="T10" fmla="*/ 167 w 571"/>
                  <a:gd name="T11" fmla="*/ 870 h 875"/>
                  <a:gd name="T12" fmla="*/ 167 w 571"/>
                  <a:gd name="T13" fmla="*/ 541 h 875"/>
                  <a:gd name="T14" fmla="*/ 199 w 571"/>
                  <a:gd name="T15" fmla="*/ 530 h 875"/>
                  <a:gd name="T16" fmla="*/ 266 w 571"/>
                  <a:gd name="T17" fmla="*/ 623 h 875"/>
                  <a:gd name="T18" fmla="*/ 284 w 571"/>
                  <a:gd name="T19" fmla="*/ 632 h 875"/>
                  <a:gd name="T20" fmla="*/ 284 w 571"/>
                  <a:gd name="T21" fmla="*/ 632 h 875"/>
                  <a:gd name="T22" fmla="*/ 302 w 571"/>
                  <a:gd name="T23" fmla="*/ 623 h 875"/>
                  <a:gd name="T24" fmla="*/ 371 w 571"/>
                  <a:gd name="T25" fmla="*/ 530 h 875"/>
                  <a:gd name="T26" fmla="*/ 405 w 571"/>
                  <a:gd name="T27" fmla="*/ 541 h 875"/>
                  <a:gd name="T28" fmla="*/ 569 w 571"/>
                  <a:gd name="T29" fmla="*/ 363 h 875"/>
                  <a:gd name="T30" fmla="*/ 554 w 571"/>
                  <a:gd name="T31" fmla="*/ 378 h 875"/>
                  <a:gd name="T32" fmla="*/ 466 w 571"/>
                  <a:gd name="T33" fmla="*/ 402 h 875"/>
                  <a:gd name="T34" fmla="*/ 470 w 571"/>
                  <a:gd name="T35" fmla="*/ 484 h 875"/>
                  <a:gd name="T36" fmla="*/ 461 w 571"/>
                  <a:gd name="T37" fmla="*/ 503 h 875"/>
                  <a:gd name="T38" fmla="*/ 441 w 571"/>
                  <a:gd name="T39" fmla="*/ 506 h 875"/>
                  <a:gd name="T40" fmla="*/ 354 w 571"/>
                  <a:gd name="T41" fmla="*/ 477 h 875"/>
                  <a:gd name="T42" fmla="*/ 302 w 571"/>
                  <a:gd name="T43" fmla="*/ 547 h 875"/>
                  <a:gd name="T44" fmla="*/ 284 w 571"/>
                  <a:gd name="T45" fmla="*/ 556 h 875"/>
                  <a:gd name="T46" fmla="*/ 284 w 571"/>
                  <a:gd name="T47" fmla="*/ 556 h 875"/>
                  <a:gd name="T48" fmla="*/ 267 w 571"/>
                  <a:gd name="T49" fmla="*/ 547 h 875"/>
                  <a:gd name="T50" fmla="*/ 216 w 571"/>
                  <a:gd name="T51" fmla="*/ 477 h 875"/>
                  <a:gd name="T52" fmla="*/ 130 w 571"/>
                  <a:gd name="T53" fmla="*/ 506 h 875"/>
                  <a:gd name="T54" fmla="*/ 110 w 571"/>
                  <a:gd name="T55" fmla="*/ 503 h 875"/>
                  <a:gd name="T56" fmla="*/ 101 w 571"/>
                  <a:gd name="T57" fmla="*/ 484 h 875"/>
                  <a:gd name="T58" fmla="*/ 104 w 571"/>
                  <a:gd name="T59" fmla="*/ 402 h 875"/>
                  <a:gd name="T60" fmla="*/ 17 w 571"/>
                  <a:gd name="T61" fmla="*/ 378 h 875"/>
                  <a:gd name="T62" fmla="*/ 2 w 571"/>
                  <a:gd name="T63" fmla="*/ 363 h 875"/>
                  <a:gd name="T64" fmla="*/ 6 w 571"/>
                  <a:gd name="T65" fmla="*/ 343 h 875"/>
                  <a:gd name="T66" fmla="*/ 61 w 571"/>
                  <a:gd name="T67" fmla="*/ 279 h 875"/>
                  <a:gd name="T68" fmla="*/ 6 w 571"/>
                  <a:gd name="T69" fmla="*/ 213 h 875"/>
                  <a:gd name="T70" fmla="*/ 2 w 571"/>
                  <a:gd name="T71" fmla="*/ 192 h 875"/>
                  <a:gd name="T72" fmla="*/ 18 w 571"/>
                  <a:gd name="T73" fmla="*/ 177 h 875"/>
                  <a:gd name="T74" fmla="*/ 104 w 571"/>
                  <a:gd name="T75" fmla="*/ 155 h 875"/>
                  <a:gd name="T76" fmla="*/ 101 w 571"/>
                  <a:gd name="T77" fmla="*/ 72 h 875"/>
                  <a:gd name="T78" fmla="*/ 110 w 571"/>
                  <a:gd name="T79" fmla="*/ 54 h 875"/>
                  <a:gd name="T80" fmla="*/ 130 w 571"/>
                  <a:gd name="T81" fmla="*/ 50 h 875"/>
                  <a:gd name="T82" fmla="*/ 216 w 571"/>
                  <a:gd name="T83" fmla="*/ 80 h 875"/>
                  <a:gd name="T84" fmla="*/ 267 w 571"/>
                  <a:gd name="T85" fmla="*/ 10 h 875"/>
                  <a:gd name="T86" fmla="*/ 284 w 571"/>
                  <a:gd name="T87" fmla="*/ 0 h 875"/>
                  <a:gd name="T88" fmla="*/ 284 w 571"/>
                  <a:gd name="T89" fmla="*/ 0 h 875"/>
                  <a:gd name="T90" fmla="*/ 302 w 571"/>
                  <a:gd name="T91" fmla="*/ 9 h 875"/>
                  <a:gd name="T92" fmla="*/ 354 w 571"/>
                  <a:gd name="T93" fmla="*/ 80 h 875"/>
                  <a:gd name="T94" fmla="*/ 441 w 571"/>
                  <a:gd name="T95" fmla="*/ 50 h 875"/>
                  <a:gd name="T96" fmla="*/ 461 w 571"/>
                  <a:gd name="T97" fmla="*/ 54 h 875"/>
                  <a:gd name="T98" fmla="*/ 470 w 571"/>
                  <a:gd name="T99" fmla="*/ 72 h 875"/>
                  <a:gd name="T100" fmla="*/ 466 w 571"/>
                  <a:gd name="T101" fmla="*/ 155 h 875"/>
                  <a:gd name="T102" fmla="*/ 553 w 571"/>
                  <a:gd name="T103" fmla="*/ 177 h 875"/>
                  <a:gd name="T104" fmla="*/ 569 w 571"/>
                  <a:gd name="T105" fmla="*/ 192 h 875"/>
                  <a:gd name="T106" fmla="*/ 565 w 571"/>
                  <a:gd name="T107" fmla="*/ 213 h 875"/>
                  <a:gd name="T108" fmla="*/ 510 w 571"/>
                  <a:gd name="T109" fmla="*/ 279 h 875"/>
                  <a:gd name="T110" fmla="*/ 565 w 571"/>
                  <a:gd name="T111" fmla="*/ 342 h 875"/>
                  <a:gd name="T112" fmla="*/ 569 w 571"/>
                  <a:gd name="T113" fmla="*/ 363 h 875"/>
                  <a:gd name="T114" fmla="*/ 386 w 571"/>
                  <a:gd name="T115" fmla="*/ 278 h 875"/>
                  <a:gd name="T116" fmla="*/ 285 w 571"/>
                  <a:gd name="T117" fmla="*/ 178 h 875"/>
                  <a:gd name="T118" fmla="*/ 185 w 571"/>
                  <a:gd name="T119" fmla="*/ 278 h 875"/>
                  <a:gd name="T120" fmla="*/ 285 w 571"/>
                  <a:gd name="T121" fmla="*/ 379 h 875"/>
                  <a:gd name="T122" fmla="*/ 386 w 571"/>
                  <a:gd name="T123" fmla="*/ 278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1" h="875">
                    <a:moveTo>
                      <a:pt x="405" y="541"/>
                    </a:moveTo>
                    <a:cubicBezTo>
                      <a:pt x="405" y="870"/>
                      <a:pt x="405" y="870"/>
                      <a:pt x="405" y="870"/>
                    </a:cubicBezTo>
                    <a:cubicBezTo>
                      <a:pt x="405" y="873"/>
                      <a:pt x="400" y="875"/>
                      <a:pt x="397" y="873"/>
                    </a:cubicBezTo>
                    <a:cubicBezTo>
                      <a:pt x="286" y="783"/>
                      <a:pt x="286" y="783"/>
                      <a:pt x="286" y="783"/>
                    </a:cubicBezTo>
                    <a:cubicBezTo>
                      <a:pt x="174" y="873"/>
                      <a:pt x="174" y="873"/>
                      <a:pt x="174" y="873"/>
                    </a:cubicBezTo>
                    <a:cubicBezTo>
                      <a:pt x="171" y="875"/>
                      <a:pt x="167" y="873"/>
                      <a:pt x="167" y="870"/>
                    </a:cubicBezTo>
                    <a:cubicBezTo>
                      <a:pt x="167" y="541"/>
                      <a:pt x="167" y="541"/>
                      <a:pt x="167" y="541"/>
                    </a:cubicBezTo>
                    <a:cubicBezTo>
                      <a:pt x="199" y="530"/>
                      <a:pt x="199" y="530"/>
                      <a:pt x="199" y="530"/>
                    </a:cubicBezTo>
                    <a:cubicBezTo>
                      <a:pt x="266" y="623"/>
                      <a:pt x="266" y="623"/>
                      <a:pt x="266" y="623"/>
                    </a:cubicBezTo>
                    <a:cubicBezTo>
                      <a:pt x="270" y="629"/>
                      <a:pt x="277" y="632"/>
                      <a:pt x="284" y="632"/>
                    </a:cubicBezTo>
                    <a:cubicBezTo>
                      <a:pt x="284" y="632"/>
                      <a:pt x="284" y="632"/>
                      <a:pt x="284" y="632"/>
                    </a:cubicBezTo>
                    <a:cubicBezTo>
                      <a:pt x="291" y="632"/>
                      <a:pt x="298" y="629"/>
                      <a:pt x="302" y="623"/>
                    </a:cubicBezTo>
                    <a:cubicBezTo>
                      <a:pt x="371" y="530"/>
                      <a:pt x="371" y="530"/>
                      <a:pt x="371" y="530"/>
                    </a:cubicBezTo>
                    <a:lnTo>
                      <a:pt x="405" y="541"/>
                    </a:lnTo>
                    <a:close/>
                    <a:moveTo>
                      <a:pt x="569" y="363"/>
                    </a:moveTo>
                    <a:cubicBezTo>
                      <a:pt x="567" y="370"/>
                      <a:pt x="561" y="376"/>
                      <a:pt x="554" y="378"/>
                    </a:cubicBezTo>
                    <a:cubicBezTo>
                      <a:pt x="466" y="402"/>
                      <a:pt x="466" y="402"/>
                      <a:pt x="466" y="402"/>
                    </a:cubicBezTo>
                    <a:cubicBezTo>
                      <a:pt x="470" y="484"/>
                      <a:pt x="470" y="484"/>
                      <a:pt x="470" y="484"/>
                    </a:cubicBezTo>
                    <a:cubicBezTo>
                      <a:pt x="470" y="491"/>
                      <a:pt x="467" y="498"/>
                      <a:pt x="461" y="503"/>
                    </a:cubicBezTo>
                    <a:cubicBezTo>
                      <a:pt x="455" y="507"/>
                      <a:pt x="447" y="508"/>
                      <a:pt x="441" y="506"/>
                    </a:cubicBezTo>
                    <a:cubicBezTo>
                      <a:pt x="354" y="477"/>
                      <a:pt x="354" y="477"/>
                      <a:pt x="354" y="477"/>
                    </a:cubicBezTo>
                    <a:cubicBezTo>
                      <a:pt x="302" y="547"/>
                      <a:pt x="302" y="547"/>
                      <a:pt x="302" y="547"/>
                    </a:cubicBezTo>
                    <a:cubicBezTo>
                      <a:pt x="298" y="553"/>
                      <a:pt x="291" y="556"/>
                      <a:pt x="284" y="556"/>
                    </a:cubicBezTo>
                    <a:cubicBezTo>
                      <a:pt x="284" y="556"/>
                      <a:pt x="284" y="556"/>
                      <a:pt x="284" y="556"/>
                    </a:cubicBezTo>
                    <a:cubicBezTo>
                      <a:pt x="277" y="556"/>
                      <a:pt x="271" y="552"/>
                      <a:pt x="267" y="547"/>
                    </a:cubicBezTo>
                    <a:cubicBezTo>
                      <a:pt x="216" y="477"/>
                      <a:pt x="216" y="477"/>
                      <a:pt x="216" y="477"/>
                    </a:cubicBezTo>
                    <a:cubicBezTo>
                      <a:pt x="130" y="506"/>
                      <a:pt x="130" y="506"/>
                      <a:pt x="130" y="506"/>
                    </a:cubicBezTo>
                    <a:cubicBezTo>
                      <a:pt x="123" y="508"/>
                      <a:pt x="116" y="507"/>
                      <a:pt x="110" y="503"/>
                    </a:cubicBezTo>
                    <a:cubicBezTo>
                      <a:pt x="104" y="498"/>
                      <a:pt x="101" y="492"/>
                      <a:pt x="101" y="484"/>
                    </a:cubicBezTo>
                    <a:cubicBezTo>
                      <a:pt x="104" y="402"/>
                      <a:pt x="104" y="402"/>
                      <a:pt x="104" y="402"/>
                    </a:cubicBezTo>
                    <a:cubicBezTo>
                      <a:pt x="17" y="378"/>
                      <a:pt x="17" y="378"/>
                      <a:pt x="17" y="378"/>
                    </a:cubicBezTo>
                    <a:cubicBezTo>
                      <a:pt x="10" y="376"/>
                      <a:pt x="4" y="370"/>
                      <a:pt x="2" y="363"/>
                    </a:cubicBezTo>
                    <a:cubicBezTo>
                      <a:pt x="0" y="356"/>
                      <a:pt x="2" y="348"/>
                      <a:pt x="6" y="343"/>
                    </a:cubicBezTo>
                    <a:cubicBezTo>
                      <a:pt x="61" y="279"/>
                      <a:pt x="61" y="279"/>
                      <a:pt x="61" y="279"/>
                    </a:cubicBezTo>
                    <a:cubicBezTo>
                      <a:pt x="6" y="213"/>
                      <a:pt x="6" y="213"/>
                      <a:pt x="6" y="213"/>
                    </a:cubicBezTo>
                    <a:cubicBezTo>
                      <a:pt x="1" y="207"/>
                      <a:pt x="0" y="199"/>
                      <a:pt x="2" y="192"/>
                    </a:cubicBezTo>
                    <a:cubicBezTo>
                      <a:pt x="5" y="185"/>
                      <a:pt x="10" y="179"/>
                      <a:pt x="18" y="177"/>
                    </a:cubicBezTo>
                    <a:cubicBezTo>
                      <a:pt x="104" y="155"/>
                      <a:pt x="104" y="155"/>
                      <a:pt x="104" y="155"/>
                    </a:cubicBezTo>
                    <a:cubicBezTo>
                      <a:pt x="101" y="72"/>
                      <a:pt x="101" y="72"/>
                      <a:pt x="101" y="72"/>
                    </a:cubicBezTo>
                    <a:cubicBezTo>
                      <a:pt x="101" y="65"/>
                      <a:pt x="104" y="58"/>
                      <a:pt x="110" y="54"/>
                    </a:cubicBezTo>
                    <a:cubicBezTo>
                      <a:pt x="116" y="49"/>
                      <a:pt x="123" y="48"/>
                      <a:pt x="130" y="50"/>
                    </a:cubicBezTo>
                    <a:cubicBezTo>
                      <a:pt x="216" y="80"/>
                      <a:pt x="216" y="80"/>
                      <a:pt x="216" y="80"/>
                    </a:cubicBezTo>
                    <a:cubicBezTo>
                      <a:pt x="267" y="10"/>
                      <a:pt x="267" y="10"/>
                      <a:pt x="267" y="10"/>
                    </a:cubicBezTo>
                    <a:cubicBezTo>
                      <a:pt x="271" y="4"/>
                      <a:pt x="277" y="0"/>
                      <a:pt x="284" y="0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291" y="0"/>
                      <a:pt x="298" y="4"/>
                      <a:pt x="302" y="9"/>
                    </a:cubicBezTo>
                    <a:cubicBezTo>
                      <a:pt x="354" y="80"/>
                      <a:pt x="354" y="80"/>
                      <a:pt x="354" y="80"/>
                    </a:cubicBezTo>
                    <a:cubicBezTo>
                      <a:pt x="441" y="50"/>
                      <a:pt x="441" y="50"/>
                      <a:pt x="441" y="50"/>
                    </a:cubicBezTo>
                    <a:cubicBezTo>
                      <a:pt x="447" y="48"/>
                      <a:pt x="455" y="49"/>
                      <a:pt x="461" y="54"/>
                    </a:cubicBezTo>
                    <a:cubicBezTo>
                      <a:pt x="467" y="58"/>
                      <a:pt x="470" y="65"/>
                      <a:pt x="470" y="72"/>
                    </a:cubicBezTo>
                    <a:cubicBezTo>
                      <a:pt x="466" y="155"/>
                      <a:pt x="466" y="155"/>
                      <a:pt x="466" y="155"/>
                    </a:cubicBezTo>
                    <a:cubicBezTo>
                      <a:pt x="553" y="177"/>
                      <a:pt x="553" y="177"/>
                      <a:pt x="553" y="177"/>
                    </a:cubicBezTo>
                    <a:cubicBezTo>
                      <a:pt x="561" y="179"/>
                      <a:pt x="567" y="185"/>
                      <a:pt x="569" y="192"/>
                    </a:cubicBezTo>
                    <a:cubicBezTo>
                      <a:pt x="571" y="199"/>
                      <a:pt x="570" y="207"/>
                      <a:pt x="565" y="213"/>
                    </a:cubicBezTo>
                    <a:cubicBezTo>
                      <a:pt x="510" y="279"/>
                      <a:pt x="510" y="279"/>
                      <a:pt x="510" y="279"/>
                    </a:cubicBezTo>
                    <a:cubicBezTo>
                      <a:pt x="565" y="342"/>
                      <a:pt x="565" y="342"/>
                      <a:pt x="565" y="342"/>
                    </a:cubicBezTo>
                    <a:cubicBezTo>
                      <a:pt x="570" y="348"/>
                      <a:pt x="571" y="356"/>
                      <a:pt x="569" y="363"/>
                    </a:cubicBezTo>
                    <a:close/>
                    <a:moveTo>
                      <a:pt x="386" y="278"/>
                    </a:moveTo>
                    <a:cubicBezTo>
                      <a:pt x="386" y="222"/>
                      <a:pt x="340" y="178"/>
                      <a:pt x="285" y="178"/>
                    </a:cubicBezTo>
                    <a:cubicBezTo>
                      <a:pt x="231" y="178"/>
                      <a:pt x="185" y="222"/>
                      <a:pt x="185" y="278"/>
                    </a:cubicBezTo>
                    <a:cubicBezTo>
                      <a:pt x="185" y="334"/>
                      <a:pt x="231" y="379"/>
                      <a:pt x="285" y="379"/>
                    </a:cubicBezTo>
                    <a:cubicBezTo>
                      <a:pt x="340" y="379"/>
                      <a:pt x="386" y="334"/>
                      <a:pt x="386" y="27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9C1387E-CDB8-B815-8D88-B7700894CEA4}"/>
              </a:ext>
            </a:extLst>
          </p:cNvPr>
          <p:cNvGrpSpPr/>
          <p:nvPr/>
        </p:nvGrpSpPr>
        <p:grpSpPr>
          <a:xfrm>
            <a:off x="6435329" y="3661267"/>
            <a:ext cx="581759" cy="581759"/>
            <a:chOff x="6263445" y="3462475"/>
            <a:chExt cx="581759" cy="581759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DCD9EAC5-8396-FAE5-3E96-48FFEA181E3E}"/>
                </a:ext>
              </a:extLst>
            </p:cNvPr>
            <p:cNvSpPr/>
            <p:nvPr/>
          </p:nvSpPr>
          <p:spPr>
            <a:xfrm>
              <a:off x="6263445" y="3462475"/>
              <a:ext cx="581759" cy="581759"/>
            </a:xfrm>
            <a:prstGeom prst="ellipse">
              <a:avLst/>
            </a:prstGeom>
            <a:solidFill>
              <a:sysClr val="window" lastClr="FFFFFF"/>
            </a:solidFill>
            <a:ln w="9525" cap="rnd" cmpd="sng" algn="ctr">
              <a:solidFill>
                <a:srgbClr val="00338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i="0" u="none" strike="noStrike" kern="0" cap="none" spc="0" normalizeH="0" baseline="0" noProof="0">
                <a:ln>
                  <a:noFill/>
                </a:ln>
                <a:solidFill>
                  <a:srgbClr val="003386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68" name="bcgBugs_Broken Puzzle">
              <a:extLst>
                <a:ext uri="{FF2B5EF4-FFF2-40B4-BE49-F238E27FC236}">
                  <a16:creationId xmlns:a16="http://schemas.microsoft.com/office/drawing/2014/main" id="{BE6D7D59-B1C8-61F1-5635-642B60C15BC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36814" y="3535631"/>
              <a:ext cx="435021" cy="435447"/>
              <a:chOff x="1054473" y="2018273"/>
              <a:chExt cx="3771900" cy="3770312"/>
            </a:xfrm>
          </p:grpSpPr>
          <p:sp>
            <p:nvSpPr>
              <p:cNvPr id="69" name="AutoShape 10">
                <a:extLst>
                  <a:ext uri="{FF2B5EF4-FFF2-40B4-BE49-F238E27FC236}">
                    <a16:creationId xmlns:a16="http://schemas.microsoft.com/office/drawing/2014/main" id="{277CD685-2D64-9C36-D628-E0E6FB36A7E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054473" y="2018273"/>
                <a:ext cx="3771900" cy="37703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12">
                <a:extLst>
                  <a:ext uri="{FF2B5EF4-FFF2-40B4-BE49-F238E27FC236}">
                    <a16:creationId xmlns:a16="http://schemas.microsoft.com/office/drawing/2014/main" id="{9278EE1F-DCAA-72E5-4336-F3F5900284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73548" y="2286560"/>
                <a:ext cx="3338513" cy="3154362"/>
              </a:xfrm>
              <a:custGeom>
                <a:avLst/>
                <a:gdLst>
                  <a:gd name="T0" fmla="*/ 612 w 884"/>
                  <a:gd name="T1" fmla="*/ 564 h 836"/>
                  <a:gd name="T2" fmla="*/ 469 w 884"/>
                  <a:gd name="T3" fmla="*/ 595 h 836"/>
                  <a:gd name="T4" fmla="*/ 467 w 884"/>
                  <a:gd name="T5" fmla="*/ 589 h 836"/>
                  <a:gd name="T6" fmla="*/ 471 w 884"/>
                  <a:gd name="T7" fmla="*/ 514 h 836"/>
                  <a:gd name="T8" fmla="*/ 361 w 884"/>
                  <a:gd name="T9" fmla="*/ 638 h 836"/>
                  <a:gd name="T10" fmla="*/ 328 w 884"/>
                  <a:gd name="T11" fmla="*/ 674 h 836"/>
                  <a:gd name="T12" fmla="*/ 316 w 884"/>
                  <a:gd name="T13" fmla="*/ 671 h 836"/>
                  <a:gd name="T14" fmla="*/ 266 w 884"/>
                  <a:gd name="T15" fmla="*/ 743 h 836"/>
                  <a:gd name="T16" fmla="*/ 329 w 884"/>
                  <a:gd name="T17" fmla="*/ 731 h 836"/>
                  <a:gd name="T18" fmla="*/ 355 w 884"/>
                  <a:gd name="T19" fmla="*/ 836 h 836"/>
                  <a:gd name="T20" fmla="*/ 665 w 884"/>
                  <a:gd name="T21" fmla="*/ 522 h 836"/>
                  <a:gd name="T22" fmla="*/ 613 w 884"/>
                  <a:gd name="T23" fmla="*/ 504 h 836"/>
                  <a:gd name="T24" fmla="*/ 54 w 884"/>
                  <a:gd name="T25" fmla="*/ 444 h 836"/>
                  <a:gd name="T26" fmla="*/ 197 w 884"/>
                  <a:gd name="T27" fmla="*/ 415 h 836"/>
                  <a:gd name="T28" fmla="*/ 203 w 884"/>
                  <a:gd name="T29" fmla="*/ 444 h 836"/>
                  <a:gd name="T30" fmla="*/ 203 w 884"/>
                  <a:gd name="T31" fmla="*/ 505 h 836"/>
                  <a:gd name="T32" fmla="*/ 304 w 884"/>
                  <a:gd name="T33" fmla="*/ 370 h 836"/>
                  <a:gd name="T34" fmla="*/ 337 w 884"/>
                  <a:gd name="T35" fmla="*/ 335 h 836"/>
                  <a:gd name="T36" fmla="*/ 349 w 884"/>
                  <a:gd name="T37" fmla="*/ 337 h 836"/>
                  <a:gd name="T38" fmla="*/ 400 w 884"/>
                  <a:gd name="T39" fmla="*/ 265 h 836"/>
                  <a:gd name="T40" fmla="*/ 337 w 884"/>
                  <a:gd name="T41" fmla="*/ 277 h 836"/>
                  <a:gd name="T42" fmla="*/ 310 w 884"/>
                  <a:gd name="T43" fmla="*/ 173 h 836"/>
                  <a:gd name="T44" fmla="*/ 0 w 884"/>
                  <a:gd name="T45" fmla="*/ 486 h 836"/>
                  <a:gd name="T46" fmla="*/ 53 w 884"/>
                  <a:gd name="T47" fmla="*/ 505 h 836"/>
                  <a:gd name="T48" fmla="*/ 660 w 884"/>
                  <a:gd name="T49" fmla="*/ 2 h 836"/>
                  <a:gd name="T50" fmla="*/ 660 w 884"/>
                  <a:gd name="T51" fmla="*/ 82 h 836"/>
                  <a:gd name="T52" fmla="*/ 531 w 884"/>
                  <a:gd name="T53" fmla="*/ 153 h 836"/>
                  <a:gd name="T54" fmla="*/ 535 w 884"/>
                  <a:gd name="T55" fmla="*/ 294 h 836"/>
                  <a:gd name="T56" fmla="*/ 528 w 884"/>
                  <a:gd name="T57" fmla="*/ 361 h 836"/>
                  <a:gd name="T58" fmla="*/ 485 w 884"/>
                  <a:gd name="T59" fmla="*/ 396 h 836"/>
                  <a:gd name="T60" fmla="*/ 483 w 884"/>
                  <a:gd name="T61" fmla="*/ 400 h 836"/>
                  <a:gd name="T62" fmla="*/ 575 w 884"/>
                  <a:gd name="T63" fmla="*/ 410 h 836"/>
                  <a:gd name="T64" fmla="*/ 643 w 884"/>
                  <a:gd name="T65" fmla="*/ 403 h 836"/>
                  <a:gd name="T66" fmla="*/ 878 w 884"/>
                  <a:gd name="T67" fmla="*/ 217 h 836"/>
                  <a:gd name="T68" fmla="*/ 192 w 884"/>
                  <a:gd name="T69" fmla="*/ 702 h 836"/>
                  <a:gd name="T70" fmla="*/ 327 w 884"/>
                  <a:gd name="T71" fmla="*/ 618 h 836"/>
                  <a:gd name="T72" fmla="*/ 204 w 884"/>
                  <a:gd name="T73" fmla="*/ 538 h 836"/>
                  <a:gd name="T74" fmla="*/ 162 w 884"/>
                  <a:gd name="T75" fmla="*/ 486 h 836"/>
                  <a:gd name="T76" fmla="*/ 168 w 884"/>
                  <a:gd name="T77" fmla="*/ 430 h 836"/>
                  <a:gd name="T78" fmla="*/ 165 w 884"/>
                  <a:gd name="T79" fmla="*/ 426 h 836"/>
                  <a:gd name="T80" fmla="*/ 93 w 884"/>
                  <a:gd name="T81" fmla="*/ 484 h 836"/>
                  <a:gd name="T82" fmla="*/ 51 w 884"/>
                  <a:gd name="T83" fmla="*/ 538 h 836"/>
                  <a:gd name="T84" fmla="*/ 18 w 884"/>
                  <a:gd name="T85" fmla="*/ 836 h 836"/>
                  <a:gd name="T86" fmla="*/ 326 w 884"/>
                  <a:gd name="T87" fmla="*/ 786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84" h="836">
                    <a:moveTo>
                      <a:pt x="613" y="504"/>
                    </a:moveTo>
                    <a:cubicBezTo>
                      <a:pt x="607" y="504"/>
                      <a:pt x="602" y="509"/>
                      <a:pt x="604" y="515"/>
                    </a:cubicBezTo>
                    <a:cubicBezTo>
                      <a:pt x="607" y="529"/>
                      <a:pt x="612" y="553"/>
                      <a:pt x="612" y="564"/>
                    </a:cubicBezTo>
                    <a:cubicBezTo>
                      <a:pt x="612" y="605"/>
                      <a:pt x="578" y="638"/>
                      <a:pt x="538" y="638"/>
                    </a:cubicBezTo>
                    <a:cubicBezTo>
                      <a:pt x="508" y="638"/>
                      <a:pt x="482" y="621"/>
                      <a:pt x="469" y="596"/>
                    </a:cubicBezTo>
                    <a:cubicBezTo>
                      <a:pt x="469" y="595"/>
                      <a:pt x="469" y="595"/>
                      <a:pt x="469" y="595"/>
                    </a:cubicBezTo>
                    <a:cubicBezTo>
                      <a:pt x="469" y="595"/>
                      <a:pt x="469" y="594"/>
                      <a:pt x="469" y="593"/>
                    </a:cubicBezTo>
                    <a:cubicBezTo>
                      <a:pt x="468" y="592"/>
                      <a:pt x="468" y="592"/>
                      <a:pt x="468" y="591"/>
                    </a:cubicBezTo>
                    <a:cubicBezTo>
                      <a:pt x="467" y="590"/>
                      <a:pt x="467" y="590"/>
                      <a:pt x="467" y="589"/>
                    </a:cubicBezTo>
                    <a:cubicBezTo>
                      <a:pt x="464" y="582"/>
                      <a:pt x="463" y="573"/>
                      <a:pt x="463" y="564"/>
                    </a:cubicBezTo>
                    <a:cubicBezTo>
                      <a:pt x="463" y="559"/>
                      <a:pt x="463" y="559"/>
                      <a:pt x="463" y="559"/>
                    </a:cubicBezTo>
                    <a:cubicBezTo>
                      <a:pt x="463" y="549"/>
                      <a:pt x="468" y="528"/>
                      <a:pt x="471" y="514"/>
                    </a:cubicBezTo>
                    <a:cubicBezTo>
                      <a:pt x="472" y="508"/>
                      <a:pt x="468" y="503"/>
                      <a:pt x="462" y="503"/>
                    </a:cubicBezTo>
                    <a:cubicBezTo>
                      <a:pt x="425" y="505"/>
                      <a:pt x="352" y="523"/>
                      <a:pt x="352" y="523"/>
                    </a:cubicBezTo>
                    <a:cubicBezTo>
                      <a:pt x="358" y="561"/>
                      <a:pt x="359" y="591"/>
                      <a:pt x="361" y="638"/>
                    </a:cubicBezTo>
                    <a:cubicBezTo>
                      <a:pt x="361" y="647"/>
                      <a:pt x="358" y="655"/>
                      <a:pt x="352" y="662"/>
                    </a:cubicBezTo>
                    <a:cubicBezTo>
                      <a:pt x="346" y="669"/>
                      <a:pt x="338" y="673"/>
                      <a:pt x="329" y="674"/>
                    </a:cubicBezTo>
                    <a:cubicBezTo>
                      <a:pt x="329" y="674"/>
                      <a:pt x="329" y="674"/>
                      <a:pt x="328" y="674"/>
                    </a:cubicBezTo>
                    <a:cubicBezTo>
                      <a:pt x="325" y="674"/>
                      <a:pt x="322" y="673"/>
                      <a:pt x="320" y="672"/>
                    </a:cubicBezTo>
                    <a:cubicBezTo>
                      <a:pt x="319" y="672"/>
                      <a:pt x="318" y="672"/>
                      <a:pt x="318" y="672"/>
                    </a:cubicBezTo>
                    <a:cubicBezTo>
                      <a:pt x="318" y="672"/>
                      <a:pt x="318" y="672"/>
                      <a:pt x="316" y="671"/>
                    </a:cubicBezTo>
                    <a:cubicBezTo>
                      <a:pt x="300" y="665"/>
                      <a:pt x="280" y="661"/>
                      <a:pt x="266" y="661"/>
                    </a:cubicBezTo>
                    <a:cubicBezTo>
                      <a:pt x="243" y="661"/>
                      <a:pt x="225" y="679"/>
                      <a:pt x="225" y="702"/>
                    </a:cubicBezTo>
                    <a:cubicBezTo>
                      <a:pt x="225" y="725"/>
                      <a:pt x="244" y="743"/>
                      <a:pt x="266" y="743"/>
                    </a:cubicBezTo>
                    <a:cubicBezTo>
                      <a:pt x="279" y="743"/>
                      <a:pt x="298" y="739"/>
                      <a:pt x="316" y="733"/>
                    </a:cubicBezTo>
                    <a:cubicBezTo>
                      <a:pt x="321" y="731"/>
                      <a:pt x="325" y="731"/>
                      <a:pt x="328" y="731"/>
                    </a:cubicBezTo>
                    <a:cubicBezTo>
                      <a:pt x="328" y="731"/>
                      <a:pt x="328" y="731"/>
                      <a:pt x="329" y="731"/>
                    </a:cubicBezTo>
                    <a:cubicBezTo>
                      <a:pt x="338" y="732"/>
                      <a:pt x="346" y="735"/>
                      <a:pt x="352" y="742"/>
                    </a:cubicBezTo>
                    <a:cubicBezTo>
                      <a:pt x="358" y="749"/>
                      <a:pt x="361" y="757"/>
                      <a:pt x="361" y="766"/>
                    </a:cubicBezTo>
                    <a:cubicBezTo>
                      <a:pt x="359" y="793"/>
                      <a:pt x="358" y="815"/>
                      <a:pt x="355" y="836"/>
                    </a:cubicBezTo>
                    <a:cubicBezTo>
                      <a:pt x="355" y="836"/>
                      <a:pt x="355" y="836"/>
                      <a:pt x="648" y="836"/>
                    </a:cubicBezTo>
                    <a:cubicBezTo>
                      <a:pt x="657" y="836"/>
                      <a:pt x="665" y="828"/>
                      <a:pt x="665" y="819"/>
                    </a:cubicBezTo>
                    <a:cubicBezTo>
                      <a:pt x="665" y="762"/>
                      <a:pt x="665" y="577"/>
                      <a:pt x="665" y="522"/>
                    </a:cubicBezTo>
                    <a:cubicBezTo>
                      <a:pt x="665" y="511"/>
                      <a:pt x="665" y="521"/>
                      <a:pt x="665" y="507"/>
                    </a:cubicBezTo>
                    <a:cubicBezTo>
                      <a:pt x="663" y="507"/>
                      <a:pt x="663" y="507"/>
                      <a:pt x="663" y="507"/>
                    </a:cubicBezTo>
                    <a:cubicBezTo>
                      <a:pt x="647" y="505"/>
                      <a:pt x="631" y="505"/>
                      <a:pt x="613" y="504"/>
                    </a:cubicBezTo>
                    <a:close/>
                    <a:moveTo>
                      <a:pt x="53" y="505"/>
                    </a:moveTo>
                    <a:cubicBezTo>
                      <a:pt x="59" y="505"/>
                      <a:pt x="63" y="499"/>
                      <a:pt x="62" y="493"/>
                    </a:cubicBezTo>
                    <a:cubicBezTo>
                      <a:pt x="58" y="479"/>
                      <a:pt x="54" y="455"/>
                      <a:pt x="54" y="444"/>
                    </a:cubicBezTo>
                    <a:cubicBezTo>
                      <a:pt x="54" y="403"/>
                      <a:pt x="87" y="370"/>
                      <a:pt x="128" y="370"/>
                    </a:cubicBezTo>
                    <a:cubicBezTo>
                      <a:pt x="158" y="370"/>
                      <a:pt x="183" y="387"/>
                      <a:pt x="195" y="412"/>
                    </a:cubicBezTo>
                    <a:cubicBezTo>
                      <a:pt x="196" y="414"/>
                      <a:pt x="196" y="415"/>
                      <a:pt x="197" y="415"/>
                    </a:cubicBezTo>
                    <a:cubicBezTo>
                      <a:pt x="197" y="416"/>
                      <a:pt x="198" y="417"/>
                      <a:pt x="198" y="418"/>
                    </a:cubicBezTo>
                    <a:cubicBezTo>
                      <a:pt x="198" y="418"/>
                      <a:pt x="198" y="418"/>
                      <a:pt x="198" y="418"/>
                    </a:cubicBezTo>
                    <a:cubicBezTo>
                      <a:pt x="201" y="427"/>
                      <a:pt x="203" y="435"/>
                      <a:pt x="203" y="444"/>
                    </a:cubicBezTo>
                    <a:cubicBezTo>
                      <a:pt x="203" y="449"/>
                      <a:pt x="203" y="449"/>
                      <a:pt x="203" y="449"/>
                    </a:cubicBezTo>
                    <a:cubicBezTo>
                      <a:pt x="202" y="459"/>
                      <a:pt x="198" y="481"/>
                      <a:pt x="194" y="493"/>
                    </a:cubicBezTo>
                    <a:cubicBezTo>
                      <a:pt x="192" y="499"/>
                      <a:pt x="197" y="505"/>
                      <a:pt x="203" y="505"/>
                    </a:cubicBezTo>
                    <a:cubicBezTo>
                      <a:pt x="241" y="503"/>
                      <a:pt x="277" y="500"/>
                      <a:pt x="314" y="496"/>
                    </a:cubicBezTo>
                    <a:cubicBezTo>
                      <a:pt x="315" y="495"/>
                      <a:pt x="315" y="495"/>
                      <a:pt x="315" y="495"/>
                    </a:cubicBezTo>
                    <a:cubicBezTo>
                      <a:pt x="310" y="457"/>
                      <a:pt x="307" y="417"/>
                      <a:pt x="304" y="370"/>
                    </a:cubicBezTo>
                    <a:cubicBezTo>
                      <a:pt x="304" y="362"/>
                      <a:pt x="307" y="353"/>
                      <a:pt x="313" y="346"/>
                    </a:cubicBezTo>
                    <a:cubicBezTo>
                      <a:pt x="319" y="339"/>
                      <a:pt x="328" y="335"/>
                      <a:pt x="337" y="335"/>
                    </a:cubicBezTo>
                    <a:cubicBezTo>
                      <a:pt x="337" y="335"/>
                      <a:pt x="337" y="335"/>
                      <a:pt x="337" y="335"/>
                    </a:cubicBezTo>
                    <a:cubicBezTo>
                      <a:pt x="340" y="335"/>
                      <a:pt x="343" y="335"/>
                      <a:pt x="346" y="336"/>
                    </a:cubicBezTo>
                    <a:cubicBezTo>
                      <a:pt x="346" y="336"/>
                      <a:pt x="348" y="336"/>
                      <a:pt x="348" y="336"/>
                    </a:cubicBezTo>
                    <a:cubicBezTo>
                      <a:pt x="349" y="337"/>
                      <a:pt x="349" y="337"/>
                      <a:pt x="349" y="337"/>
                    </a:cubicBezTo>
                    <a:cubicBezTo>
                      <a:pt x="366" y="343"/>
                      <a:pt x="386" y="347"/>
                      <a:pt x="400" y="347"/>
                    </a:cubicBezTo>
                    <a:cubicBezTo>
                      <a:pt x="422" y="347"/>
                      <a:pt x="440" y="329"/>
                      <a:pt x="440" y="306"/>
                    </a:cubicBezTo>
                    <a:cubicBezTo>
                      <a:pt x="440" y="284"/>
                      <a:pt x="422" y="265"/>
                      <a:pt x="400" y="265"/>
                    </a:cubicBezTo>
                    <a:cubicBezTo>
                      <a:pt x="387" y="265"/>
                      <a:pt x="367" y="269"/>
                      <a:pt x="349" y="275"/>
                    </a:cubicBezTo>
                    <a:cubicBezTo>
                      <a:pt x="345" y="277"/>
                      <a:pt x="340" y="277"/>
                      <a:pt x="337" y="277"/>
                    </a:cubicBezTo>
                    <a:cubicBezTo>
                      <a:pt x="337" y="277"/>
                      <a:pt x="337" y="277"/>
                      <a:pt x="337" y="277"/>
                    </a:cubicBezTo>
                    <a:cubicBezTo>
                      <a:pt x="328" y="277"/>
                      <a:pt x="319" y="272"/>
                      <a:pt x="313" y="266"/>
                    </a:cubicBezTo>
                    <a:cubicBezTo>
                      <a:pt x="307" y="260"/>
                      <a:pt x="304" y="251"/>
                      <a:pt x="305" y="242"/>
                    </a:cubicBezTo>
                    <a:cubicBezTo>
                      <a:pt x="306" y="215"/>
                      <a:pt x="307" y="193"/>
                      <a:pt x="310" y="173"/>
                    </a:cubicBezTo>
                    <a:cubicBezTo>
                      <a:pt x="17" y="173"/>
                      <a:pt x="17" y="173"/>
                      <a:pt x="17" y="173"/>
                    </a:cubicBezTo>
                    <a:cubicBezTo>
                      <a:pt x="8" y="173"/>
                      <a:pt x="0" y="180"/>
                      <a:pt x="0" y="189"/>
                    </a:cubicBezTo>
                    <a:cubicBezTo>
                      <a:pt x="0" y="486"/>
                      <a:pt x="0" y="486"/>
                      <a:pt x="0" y="486"/>
                    </a:cubicBezTo>
                    <a:cubicBezTo>
                      <a:pt x="0" y="496"/>
                      <a:pt x="0" y="487"/>
                      <a:pt x="0" y="501"/>
                    </a:cubicBezTo>
                    <a:cubicBezTo>
                      <a:pt x="3" y="501"/>
                      <a:pt x="3" y="501"/>
                      <a:pt x="3" y="501"/>
                    </a:cubicBezTo>
                    <a:cubicBezTo>
                      <a:pt x="18" y="502"/>
                      <a:pt x="35" y="504"/>
                      <a:pt x="53" y="505"/>
                    </a:cubicBezTo>
                    <a:close/>
                    <a:moveTo>
                      <a:pt x="878" y="217"/>
                    </a:moveTo>
                    <a:cubicBezTo>
                      <a:pt x="878" y="217"/>
                      <a:pt x="878" y="217"/>
                      <a:pt x="661" y="0"/>
                    </a:cubicBezTo>
                    <a:cubicBezTo>
                      <a:pt x="661" y="0"/>
                      <a:pt x="661" y="0"/>
                      <a:pt x="660" y="2"/>
                    </a:cubicBezTo>
                    <a:cubicBezTo>
                      <a:pt x="651" y="9"/>
                      <a:pt x="636" y="22"/>
                      <a:pt x="624" y="32"/>
                    </a:cubicBezTo>
                    <a:cubicBezTo>
                      <a:pt x="617" y="40"/>
                      <a:pt x="617" y="53"/>
                      <a:pt x="627" y="58"/>
                    </a:cubicBezTo>
                    <a:cubicBezTo>
                      <a:pt x="639" y="66"/>
                      <a:pt x="654" y="76"/>
                      <a:pt x="660" y="82"/>
                    </a:cubicBezTo>
                    <a:cubicBezTo>
                      <a:pt x="689" y="111"/>
                      <a:pt x="688" y="158"/>
                      <a:pt x="660" y="187"/>
                    </a:cubicBezTo>
                    <a:cubicBezTo>
                      <a:pt x="630" y="216"/>
                      <a:pt x="585" y="216"/>
                      <a:pt x="555" y="187"/>
                    </a:cubicBezTo>
                    <a:cubicBezTo>
                      <a:pt x="548" y="180"/>
                      <a:pt x="539" y="165"/>
                      <a:pt x="531" y="153"/>
                    </a:cubicBezTo>
                    <a:cubicBezTo>
                      <a:pt x="525" y="144"/>
                      <a:pt x="512" y="143"/>
                      <a:pt x="505" y="151"/>
                    </a:cubicBezTo>
                    <a:cubicBezTo>
                      <a:pt x="483" y="176"/>
                      <a:pt x="458" y="204"/>
                      <a:pt x="441" y="227"/>
                    </a:cubicBezTo>
                    <a:cubicBezTo>
                      <a:pt x="441" y="227"/>
                      <a:pt x="507" y="268"/>
                      <a:pt x="535" y="294"/>
                    </a:cubicBezTo>
                    <a:cubicBezTo>
                      <a:pt x="535" y="294"/>
                      <a:pt x="536" y="295"/>
                      <a:pt x="536" y="295"/>
                    </a:cubicBezTo>
                    <a:cubicBezTo>
                      <a:pt x="549" y="307"/>
                      <a:pt x="552" y="326"/>
                      <a:pt x="544" y="343"/>
                    </a:cubicBezTo>
                    <a:cubicBezTo>
                      <a:pt x="541" y="351"/>
                      <a:pt x="535" y="357"/>
                      <a:pt x="528" y="361"/>
                    </a:cubicBezTo>
                    <a:cubicBezTo>
                      <a:pt x="509" y="373"/>
                      <a:pt x="499" y="379"/>
                      <a:pt x="496" y="383"/>
                    </a:cubicBezTo>
                    <a:cubicBezTo>
                      <a:pt x="495" y="384"/>
                      <a:pt x="494" y="384"/>
                      <a:pt x="494" y="385"/>
                    </a:cubicBezTo>
                    <a:cubicBezTo>
                      <a:pt x="490" y="388"/>
                      <a:pt x="487" y="392"/>
                      <a:pt x="485" y="396"/>
                    </a:cubicBezTo>
                    <a:cubicBezTo>
                      <a:pt x="485" y="396"/>
                      <a:pt x="485" y="396"/>
                      <a:pt x="484" y="398"/>
                    </a:cubicBezTo>
                    <a:cubicBezTo>
                      <a:pt x="484" y="400"/>
                      <a:pt x="484" y="400"/>
                      <a:pt x="484" y="400"/>
                    </a:cubicBezTo>
                    <a:cubicBezTo>
                      <a:pt x="484" y="400"/>
                      <a:pt x="484" y="400"/>
                      <a:pt x="483" y="400"/>
                    </a:cubicBezTo>
                    <a:cubicBezTo>
                      <a:pt x="479" y="415"/>
                      <a:pt x="482" y="432"/>
                      <a:pt x="494" y="444"/>
                    </a:cubicBezTo>
                    <a:cubicBezTo>
                      <a:pt x="510" y="460"/>
                      <a:pt x="536" y="460"/>
                      <a:pt x="552" y="444"/>
                    </a:cubicBezTo>
                    <a:cubicBezTo>
                      <a:pt x="555" y="442"/>
                      <a:pt x="562" y="432"/>
                      <a:pt x="575" y="410"/>
                    </a:cubicBezTo>
                    <a:cubicBezTo>
                      <a:pt x="582" y="400"/>
                      <a:pt x="592" y="392"/>
                      <a:pt x="604" y="390"/>
                    </a:cubicBezTo>
                    <a:cubicBezTo>
                      <a:pt x="618" y="387"/>
                      <a:pt x="632" y="392"/>
                      <a:pt x="642" y="401"/>
                    </a:cubicBezTo>
                    <a:cubicBezTo>
                      <a:pt x="642" y="402"/>
                      <a:pt x="643" y="402"/>
                      <a:pt x="643" y="403"/>
                    </a:cubicBezTo>
                    <a:cubicBezTo>
                      <a:pt x="655" y="416"/>
                      <a:pt x="666" y="428"/>
                      <a:pt x="677" y="441"/>
                    </a:cubicBezTo>
                    <a:cubicBezTo>
                      <a:pt x="677" y="441"/>
                      <a:pt x="677" y="441"/>
                      <a:pt x="878" y="240"/>
                    </a:cubicBezTo>
                    <a:cubicBezTo>
                      <a:pt x="884" y="234"/>
                      <a:pt x="884" y="223"/>
                      <a:pt x="878" y="217"/>
                    </a:cubicBezTo>
                    <a:close/>
                    <a:moveTo>
                      <a:pt x="306" y="769"/>
                    </a:moveTo>
                    <a:cubicBezTo>
                      <a:pt x="292" y="773"/>
                      <a:pt x="275" y="776"/>
                      <a:pt x="266" y="776"/>
                    </a:cubicBezTo>
                    <a:cubicBezTo>
                      <a:pt x="225" y="776"/>
                      <a:pt x="192" y="743"/>
                      <a:pt x="192" y="702"/>
                    </a:cubicBezTo>
                    <a:cubicBezTo>
                      <a:pt x="192" y="660"/>
                      <a:pt x="225" y="628"/>
                      <a:pt x="266" y="628"/>
                    </a:cubicBezTo>
                    <a:cubicBezTo>
                      <a:pt x="275" y="628"/>
                      <a:pt x="293" y="631"/>
                      <a:pt x="307" y="634"/>
                    </a:cubicBezTo>
                    <a:cubicBezTo>
                      <a:pt x="317" y="636"/>
                      <a:pt x="328" y="628"/>
                      <a:pt x="327" y="618"/>
                    </a:cubicBezTo>
                    <a:cubicBezTo>
                      <a:pt x="325" y="585"/>
                      <a:pt x="322" y="556"/>
                      <a:pt x="319" y="528"/>
                    </a:cubicBezTo>
                    <a:cubicBezTo>
                      <a:pt x="319" y="528"/>
                      <a:pt x="319" y="528"/>
                      <a:pt x="319" y="528"/>
                    </a:cubicBezTo>
                    <a:cubicBezTo>
                      <a:pt x="280" y="533"/>
                      <a:pt x="243" y="536"/>
                      <a:pt x="204" y="538"/>
                    </a:cubicBezTo>
                    <a:cubicBezTo>
                      <a:pt x="204" y="538"/>
                      <a:pt x="204" y="538"/>
                      <a:pt x="203" y="538"/>
                    </a:cubicBezTo>
                    <a:cubicBezTo>
                      <a:pt x="186" y="538"/>
                      <a:pt x="169" y="527"/>
                      <a:pt x="163" y="510"/>
                    </a:cubicBezTo>
                    <a:cubicBezTo>
                      <a:pt x="160" y="502"/>
                      <a:pt x="160" y="493"/>
                      <a:pt x="162" y="486"/>
                    </a:cubicBezTo>
                    <a:cubicBezTo>
                      <a:pt x="168" y="464"/>
                      <a:pt x="169" y="451"/>
                      <a:pt x="170" y="448"/>
                    </a:cubicBezTo>
                    <a:cubicBezTo>
                      <a:pt x="170" y="444"/>
                      <a:pt x="170" y="444"/>
                      <a:pt x="170" y="444"/>
                    </a:cubicBezTo>
                    <a:cubicBezTo>
                      <a:pt x="170" y="439"/>
                      <a:pt x="169" y="435"/>
                      <a:pt x="168" y="430"/>
                    </a:cubicBezTo>
                    <a:cubicBezTo>
                      <a:pt x="166" y="428"/>
                      <a:pt x="166" y="428"/>
                      <a:pt x="166" y="428"/>
                    </a:cubicBezTo>
                    <a:cubicBezTo>
                      <a:pt x="166" y="428"/>
                      <a:pt x="166" y="427"/>
                      <a:pt x="166" y="427"/>
                    </a:cubicBezTo>
                    <a:cubicBezTo>
                      <a:pt x="165" y="426"/>
                      <a:pt x="165" y="426"/>
                      <a:pt x="165" y="426"/>
                    </a:cubicBezTo>
                    <a:cubicBezTo>
                      <a:pt x="159" y="412"/>
                      <a:pt x="144" y="403"/>
                      <a:pt x="128" y="403"/>
                    </a:cubicBezTo>
                    <a:cubicBezTo>
                      <a:pt x="105" y="403"/>
                      <a:pt x="87" y="421"/>
                      <a:pt x="87" y="444"/>
                    </a:cubicBezTo>
                    <a:cubicBezTo>
                      <a:pt x="87" y="448"/>
                      <a:pt x="88" y="460"/>
                      <a:pt x="93" y="484"/>
                    </a:cubicBezTo>
                    <a:cubicBezTo>
                      <a:pt x="96" y="496"/>
                      <a:pt x="95" y="509"/>
                      <a:pt x="87" y="519"/>
                    </a:cubicBezTo>
                    <a:cubicBezTo>
                      <a:pt x="80" y="531"/>
                      <a:pt x="67" y="538"/>
                      <a:pt x="53" y="538"/>
                    </a:cubicBezTo>
                    <a:cubicBezTo>
                      <a:pt x="52" y="538"/>
                      <a:pt x="51" y="538"/>
                      <a:pt x="51" y="538"/>
                    </a:cubicBezTo>
                    <a:cubicBezTo>
                      <a:pt x="33" y="537"/>
                      <a:pt x="18" y="535"/>
                      <a:pt x="2" y="534"/>
                    </a:cubicBezTo>
                    <a:cubicBezTo>
                      <a:pt x="2" y="819"/>
                      <a:pt x="2" y="819"/>
                      <a:pt x="2" y="819"/>
                    </a:cubicBezTo>
                    <a:cubicBezTo>
                      <a:pt x="2" y="828"/>
                      <a:pt x="9" y="836"/>
                      <a:pt x="18" y="836"/>
                    </a:cubicBezTo>
                    <a:cubicBezTo>
                      <a:pt x="322" y="836"/>
                      <a:pt x="322" y="836"/>
                      <a:pt x="322" y="836"/>
                    </a:cubicBezTo>
                    <a:cubicBezTo>
                      <a:pt x="323" y="832"/>
                      <a:pt x="323" y="832"/>
                      <a:pt x="323" y="832"/>
                    </a:cubicBezTo>
                    <a:cubicBezTo>
                      <a:pt x="324" y="822"/>
                      <a:pt x="325" y="802"/>
                      <a:pt x="326" y="786"/>
                    </a:cubicBezTo>
                    <a:cubicBezTo>
                      <a:pt x="327" y="775"/>
                      <a:pt x="316" y="767"/>
                      <a:pt x="306" y="7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47608939-AA8A-2BC3-855B-D85C47396EA0}"/>
              </a:ext>
            </a:extLst>
          </p:cNvPr>
          <p:cNvGrpSpPr/>
          <p:nvPr/>
        </p:nvGrpSpPr>
        <p:grpSpPr>
          <a:xfrm>
            <a:off x="6435327" y="2472547"/>
            <a:ext cx="581759" cy="581759"/>
            <a:chOff x="6480955" y="2214700"/>
            <a:chExt cx="581759" cy="581759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22D7E098-5BD7-1C76-400D-05BEBA2544D4}"/>
                </a:ext>
              </a:extLst>
            </p:cNvPr>
            <p:cNvSpPr/>
            <p:nvPr/>
          </p:nvSpPr>
          <p:spPr>
            <a:xfrm>
              <a:off x="6480955" y="2214700"/>
              <a:ext cx="581759" cy="581759"/>
            </a:xfrm>
            <a:prstGeom prst="ellipse">
              <a:avLst/>
            </a:prstGeom>
            <a:solidFill>
              <a:sysClr val="window" lastClr="FFFFFF"/>
            </a:solidFill>
            <a:ln w="9525" cap="rnd" cmpd="sng" algn="ctr">
              <a:solidFill>
                <a:srgbClr val="00338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i="0" u="none" strike="noStrike" kern="0" cap="none" spc="0" normalizeH="0" baseline="0" noProof="0">
                <a:ln>
                  <a:noFill/>
                </a:ln>
                <a:solidFill>
                  <a:srgbClr val="003386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72" name="bcgBugs_">
              <a:extLst>
                <a:ext uri="{FF2B5EF4-FFF2-40B4-BE49-F238E27FC236}">
                  <a16:creationId xmlns:a16="http://schemas.microsoft.com/office/drawing/2014/main" id="{2541A477-519E-B846-FA24-E1AA31AA11A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554324" y="2287856"/>
              <a:ext cx="435021" cy="435447"/>
              <a:chOff x="2818" y="1137"/>
              <a:chExt cx="2044" cy="2046"/>
            </a:xfrm>
          </p:grpSpPr>
          <p:sp>
            <p:nvSpPr>
              <p:cNvPr id="73" name="AutoShape 3">
                <a:extLst>
                  <a:ext uri="{FF2B5EF4-FFF2-40B4-BE49-F238E27FC236}">
                    <a16:creationId xmlns:a16="http://schemas.microsoft.com/office/drawing/2014/main" id="{4BC1A5A6-6ECB-7FF4-C04C-8CC9FEDF24E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7">
                <a:extLst>
                  <a:ext uri="{FF2B5EF4-FFF2-40B4-BE49-F238E27FC236}">
                    <a16:creationId xmlns:a16="http://schemas.microsoft.com/office/drawing/2014/main" id="{1182375A-BCC1-E206-C688-F37294D99C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6" y="1272"/>
                <a:ext cx="1168" cy="1792"/>
              </a:xfrm>
              <a:custGeom>
                <a:avLst/>
                <a:gdLst>
                  <a:gd name="T0" fmla="*/ 405 w 571"/>
                  <a:gd name="T1" fmla="*/ 541 h 875"/>
                  <a:gd name="T2" fmla="*/ 405 w 571"/>
                  <a:gd name="T3" fmla="*/ 870 h 875"/>
                  <a:gd name="T4" fmla="*/ 397 w 571"/>
                  <a:gd name="T5" fmla="*/ 873 h 875"/>
                  <a:gd name="T6" fmla="*/ 286 w 571"/>
                  <a:gd name="T7" fmla="*/ 783 h 875"/>
                  <a:gd name="T8" fmla="*/ 174 w 571"/>
                  <a:gd name="T9" fmla="*/ 873 h 875"/>
                  <a:gd name="T10" fmla="*/ 167 w 571"/>
                  <a:gd name="T11" fmla="*/ 870 h 875"/>
                  <a:gd name="T12" fmla="*/ 167 w 571"/>
                  <a:gd name="T13" fmla="*/ 541 h 875"/>
                  <a:gd name="T14" fmla="*/ 199 w 571"/>
                  <a:gd name="T15" fmla="*/ 530 h 875"/>
                  <a:gd name="T16" fmla="*/ 266 w 571"/>
                  <a:gd name="T17" fmla="*/ 623 h 875"/>
                  <a:gd name="T18" fmla="*/ 284 w 571"/>
                  <a:gd name="T19" fmla="*/ 632 h 875"/>
                  <a:gd name="T20" fmla="*/ 284 w 571"/>
                  <a:gd name="T21" fmla="*/ 632 h 875"/>
                  <a:gd name="T22" fmla="*/ 302 w 571"/>
                  <a:gd name="T23" fmla="*/ 623 h 875"/>
                  <a:gd name="T24" fmla="*/ 371 w 571"/>
                  <a:gd name="T25" fmla="*/ 530 h 875"/>
                  <a:gd name="T26" fmla="*/ 405 w 571"/>
                  <a:gd name="T27" fmla="*/ 541 h 875"/>
                  <a:gd name="T28" fmla="*/ 569 w 571"/>
                  <a:gd name="T29" fmla="*/ 363 h 875"/>
                  <a:gd name="T30" fmla="*/ 554 w 571"/>
                  <a:gd name="T31" fmla="*/ 378 h 875"/>
                  <a:gd name="T32" fmla="*/ 466 w 571"/>
                  <a:gd name="T33" fmla="*/ 402 h 875"/>
                  <a:gd name="T34" fmla="*/ 470 w 571"/>
                  <a:gd name="T35" fmla="*/ 484 h 875"/>
                  <a:gd name="T36" fmla="*/ 461 w 571"/>
                  <a:gd name="T37" fmla="*/ 503 h 875"/>
                  <a:gd name="T38" fmla="*/ 441 w 571"/>
                  <a:gd name="T39" fmla="*/ 506 h 875"/>
                  <a:gd name="T40" fmla="*/ 354 w 571"/>
                  <a:gd name="T41" fmla="*/ 477 h 875"/>
                  <a:gd name="T42" fmla="*/ 302 w 571"/>
                  <a:gd name="T43" fmla="*/ 547 h 875"/>
                  <a:gd name="T44" fmla="*/ 284 w 571"/>
                  <a:gd name="T45" fmla="*/ 556 h 875"/>
                  <a:gd name="T46" fmla="*/ 284 w 571"/>
                  <a:gd name="T47" fmla="*/ 556 h 875"/>
                  <a:gd name="T48" fmla="*/ 267 w 571"/>
                  <a:gd name="T49" fmla="*/ 547 h 875"/>
                  <a:gd name="T50" fmla="*/ 216 w 571"/>
                  <a:gd name="T51" fmla="*/ 477 h 875"/>
                  <a:gd name="T52" fmla="*/ 130 w 571"/>
                  <a:gd name="T53" fmla="*/ 506 h 875"/>
                  <a:gd name="T54" fmla="*/ 110 w 571"/>
                  <a:gd name="T55" fmla="*/ 503 h 875"/>
                  <a:gd name="T56" fmla="*/ 101 w 571"/>
                  <a:gd name="T57" fmla="*/ 484 h 875"/>
                  <a:gd name="T58" fmla="*/ 104 w 571"/>
                  <a:gd name="T59" fmla="*/ 402 h 875"/>
                  <a:gd name="T60" fmla="*/ 17 w 571"/>
                  <a:gd name="T61" fmla="*/ 378 h 875"/>
                  <a:gd name="T62" fmla="*/ 2 w 571"/>
                  <a:gd name="T63" fmla="*/ 363 h 875"/>
                  <a:gd name="T64" fmla="*/ 6 w 571"/>
                  <a:gd name="T65" fmla="*/ 343 h 875"/>
                  <a:gd name="T66" fmla="*/ 61 w 571"/>
                  <a:gd name="T67" fmla="*/ 279 h 875"/>
                  <a:gd name="T68" fmla="*/ 6 w 571"/>
                  <a:gd name="T69" fmla="*/ 213 h 875"/>
                  <a:gd name="T70" fmla="*/ 2 w 571"/>
                  <a:gd name="T71" fmla="*/ 192 h 875"/>
                  <a:gd name="T72" fmla="*/ 18 w 571"/>
                  <a:gd name="T73" fmla="*/ 177 h 875"/>
                  <a:gd name="T74" fmla="*/ 104 w 571"/>
                  <a:gd name="T75" fmla="*/ 155 h 875"/>
                  <a:gd name="T76" fmla="*/ 101 w 571"/>
                  <a:gd name="T77" fmla="*/ 72 h 875"/>
                  <a:gd name="T78" fmla="*/ 110 w 571"/>
                  <a:gd name="T79" fmla="*/ 54 h 875"/>
                  <a:gd name="T80" fmla="*/ 130 w 571"/>
                  <a:gd name="T81" fmla="*/ 50 h 875"/>
                  <a:gd name="T82" fmla="*/ 216 w 571"/>
                  <a:gd name="T83" fmla="*/ 80 h 875"/>
                  <a:gd name="T84" fmla="*/ 267 w 571"/>
                  <a:gd name="T85" fmla="*/ 10 h 875"/>
                  <a:gd name="T86" fmla="*/ 284 w 571"/>
                  <a:gd name="T87" fmla="*/ 0 h 875"/>
                  <a:gd name="T88" fmla="*/ 284 w 571"/>
                  <a:gd name="T89" fmla="*/ 0 h 875"/>
                  <a:gd name="T90" fmla="*/ 302 w 571"/>
                  <a:gd name="T91" fmla="*/ 9 h 875"/>
                  <a:gd name="T92" fmla="*/ 354 w 571"/>
                  <a:gd name="T93" fmla="*/ 80 h 875"/>
                  <a:gd name="T94" fmla="*/ 441 w 571"/>
                  <a:gd name="T95" fmla="*/ 50 h 875"/>
                  <a:gd name="T96" fmla="*/ 461 w 571"/>
                  <a:gd name="T97" fmla="*/ 54 h 875"/>
                  <a:gd name="T98" fmla="*/ 470 w 571"/>
                  <a:gd name="T99" fmla="*/ 72 h 875"/>
                  <a:gd name="T100" fmla="*/ 466 w 571"/>
                  <a:gd name="T101" fmla="*/ 155 h 875"/>
                  <a:gd name="T102" fmla="*/ 553 w 571"/>
                  <a:gd name="T103" fmla="*/ 177 h 875"/>
                  <a:gd name="T104" fmla="*/ 569 w 571"/>
                  <a:gd name="T105" fmla="*/ 192 h 875"/>
                  <a:gd name="T106" fmla="*/ 565 w 571"/>
                  <a:gd name="T107" fmla="*/ 213 h 875"/>
                  <a:gd name="T108" fmla="*/ 510 w 571"/>
                  <a:gd name="T109" fmla="*/ 279 h 875"/>
                  <a:gd name="T110" fmla="*/ 565 w 571"/>
                  <a:gd name="T111" fmla="*/ 342 h 875"/>
                  <a:gd name="T112" fmla="*/ 569 w 571"/>
                  <a:gd name="T113" fmla="*/ 363 h 875"/>
                  <a:gd name="T114" fmla="*/ 386 w 571"/>
                  <a:gd name="T115" fmla="*/ 278 h 875"/>
                  <a:gd name="T116" fmla="*/ 285 w 571"/>
                  <a:gd name="T117" fmla="*/ 178 h 875"/>
                  <a:gd name="T118" fmla="*/ 185 w 571"/>
                  <a:gd name="T119" fmla="*/ 278 h 875"/>
                  <a:gd name="T120" fmla="*/ 285 w 571"/>
                  <a:gd name="T121" fmla="*/ 379 h 875"/>
                  <a:gd name="T122" fmla="*/ 386 w 571"/>
                  <a:gd name="T123" fmla="*/ 278 h 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1" h="875">
                    <a:moveTo>
                      <a:pt x="405" y="541"/>
                    </a:moveTo>
                    <a:cubicBezTo>
                      <a:pt x="405" y="870"/>
                      <a:pt x="405" y="870"/>
                      <a:pt x="405" y="870"/>
                    </a:cubicBezTo>
                    <a:cubicBezTo>
                      <a:pt x="405" y="873"/>
                      <a:pt x="400" y="875"/>
                      <a:pt x="397" y="873"/>
                    </a:cubicBezTo>
                    <a:cubicBezTo>
                      <a:pt x="286" y="783"/>
                      <a:pt x="286" y="783"/>
                      <a:pt x="286" y="783"/>
                    </a:cubicBezTo>
                    <a:cubicBezTo>
                      <a:pt x="174" y="873"/>
                      <a:pt x="174" y="873"/>
                      <a:pt x="174" y="873"/>
                    </a:cubicBezTo>
                    <a:cubicBezTo>
                      <a:pt x="171" y="875"/>
                      <a:pt x="167" y="873"/>
                      <a:pt x="167" y="870"/>
                    </a:cubicBezTo>
                    <a:cubicBezTo>
                      <a:pt x="167" y="541"/>
                      <a:pt x="167" y="541"/>
                      <a:pt x="167" y="541"/>
                    </a:cubicBezTo>
                    <a:cubicBezTo>
                      <a:pt x="199" y="530"/>
                      <a:pt x="199" y="530"/>
                      <a:pt x="199" y="530"/>
                    </a:cubicBezTo>
                    <a:cubicBezTo>
                      <a:pt x="266" y="623"/>
                      <a:pt x="266" y="623"/>
                      <a:pt x="266" y="623"/>
                    </a:cubicBezTo>
                    <a:cubicBezTo>
                      <a:pt x="270" y="629"/>
                      <a:pt x="277" y="632"/>
                      <a:pt x="284" y="632"/>
                    </a:cubicBezTo>
                    <a:cubicBezTo>
                      <a:pt x="284" y="632"/>
                      <a:pt x="284" y="632"/>
                      <a:pt x="284" y="632"/>
                    </a:cubicBezTo>
                    <a:cubicBezTo>
                      <a:pt x="291" y="632"/>
                      <a:pt x="298" y="629"/>
                      <a:pt x="302" y="623"/>
                    </a:cubicBezTo>
                    <a:cubicBezTo>
                      <a:pt x="371" y="530"/>
                      <a:pt x="371" y="530"/>
                      <a:pt x="371" y="530"/>
                    </a:cubicBezTo>
                    <a:lnTo>
                      <a:pt x="405" y="541"/>
                    </a:lnTo>
                    <a:close/>
                    <a:moveTo>
                      <a:pt x="569" y="363"/>
                    </a:moveTo>
                    <a:cubicBezTo>
                      <a:pt x="567" y="370"/>
                      <a:pt x="561" y="376"/>
                      <a:pt x="554" y="378"/>
                    </a:cubicBezTo>
                    <a:cubicBezTo>
                      <a:pt x="466" y="402"/>
                      <a:pt x="466" y="402"/>
                      <a:pt x="466" y="402"/>
                    </a:cubicBezTo>
                    <a:cubicBezTo>
                      <a:pt x="470" y="484"/>
                      <a:pt x="470" y="484"/>
                      <a:pt x="470" y="484"/>
                    </a:cubicBezTo>
                    <a:cubicBezTo>
                      <a:pt x="470" y="491"/>
                      <a:pt x="467" y="498"/>
                      <a:pt x="461" y="503"/>
                    </a:cubicBezTo>
                    <a:cubicBezTo>
                      <a:pt x="455" y="507"/>
                      <a:pt x="447" y="508"/>
                      <a:pt x="441" y="506"/>
                    </a:cubicBezTo>
                    <a:cubicBezTo>
                      <a:pt x="354" y="477"/>
                      <a:pt x="354" y="477"/>
                      <a:pt x="354" y="477"/>
                    </a:cubicBezTo>
                    <a:cubicBezTo>
                      <a:pt x="302" y="547"/>
                      <a:pt x="302" y="547"/>
                      <a:pt x="302" y="547"/>
                    </a:cubicBezTo>
                    <a:cubicBezTo>
                      <a:pt x="298" y="553"/>
                      <a:pt x="291" y="556"/>
                      <a:pt x="284" y="556"/>
                    </a:cubicBezTo>
                    <a:cubicBezTo>
                      <a:pt x="284" y="556"/>
                      <a:pt x="284" y="556"/>
                      <a:pt x="284" y="556"/>
                    </a:cubicBezTo>
                    <a:cubicBezTo>
                      <a:pt x="277" y="556"/>
                      <a:pt x="271" y="552"/>
                      <a:pt x="267" y="547"/>
                    </a:cubicBezTo>
                    <a:cubicBezTo>
                      <a:pt x="216" y="477"/>
                      <a:pt x="216" y="477"/>
                      <a:pt x="216" y="477"/>
                    </a:cubicBezTo>
                    <a:cubicBezTo>
                      <a:pt x="130" y="506"/>
                      <a:pt x="130" y="506"/>
                      <a:pt x="130" y="506"/>
                    </a:cubicBezTo>
                    <a:cubicBezTo>
                      <a:pt x="123" y="508"/>
                      <a:pt x="116" y="507"/>
                      <a:pt x="110" y="503"/>
                    </a:cubicBezTo>
                    <a:cubicBezTo>
                      <a:pt x="104" y="498"/>
                      <a:pt x="101" y="492"/>
                      <a:pt x="101" y="484"/>
                    </a:cubicBezTo>
                    <a:cubicBezTo>
                      <a:pt x="104" y="402"/>
                      <a:pt x="104" y="402"/>
                      <a:pt x="104" y="402"/>
                    </a:cubicBezTo>
                    <a:cubicBezTo>
                      <a:pt x="17" y="378"/>
                      <a:pt x="17" y="378"/>
                      <a:pt x="17" y="378"/>
                    </a:cubicBezTo>
                    <a:cubicBezTo>
                      <a:pt x="10" y="376"/>
                      <a:pt x="4" y="370"/>
                      <a:pt x="2" y="363"/>
                    </a:cubicBezTo>
                    <a:cubicBezTo>
                      <a:pt x="0" y="356"/>
                      <a:pt x="2" y="348"/>
                      <a:pt x="6" y="343"/>
                    </a:cubicBezTo>
                    <a:cubicBezTo>
                      <a:pt x="61" y="279"/>
                      <a:pt x="61" y="279"/>
                      <a:pt x="61" y="279"/>
                    </a:cubicBezTo>
                    <a:cubicBezTo>
                      <a:pt x="6" y="213"/>
                      <a:pt x="6" y="213"/>
                      <a:pt x="6" y="213"/>
                    </a:cubicBezTo>
                    <a:cubicBezTo>
                      <a:pt x="1" y="207"/>
                      <a:pt x="0" y="199"/>
                      <a:pt x="2" y="192"/>
                    </a:cubicBezTo>
                    <a:cubicBezTo>
                      <a:pt x="5" y="185"/>
                      <a:pt x="10" y="179"/>
                      <a:pt x="18" y="177"/>
                    </a:cubicBezTo>
                    <a:cubicBezTo>
                      <a:pt x="104" y="155"/>
                      <a:pt x="104" y="155"/>
                      <a:pt x="104" y="155"/>
                    </a:cubicBezTo>
                    <a:cubicBezTo>
                      <a:pt x="101" y="72"/>
                      <a:pt x="101" y="72"/>
                      <a:pt x="101" y="72"/>
                    </a:cubicBezTo>
                    <a:cubicBezTo>
                      <a:pt x="101" y="65"/>
                      <a:pt x="104" y="58"/>
                      <a:pt x="110" y="54"/>
                    </a:cubicBezTo>
                    <a:cubicBezTo>
                      <a:pt x="116" y="49"/>
                      <a:pt x="123" y="48"/>
                      <a:pt x="130" y="50"/>
                    </a:cubicBezTo>
                    <a:cubicBezTo>
                      <a:pt x="216" y="80"/>
                      <a:pt x="216" y="80"/>
                      <a:pt x="216" y="80"/>
                    </a:cubicBezTo>
                    <a:cubicBezTo>
                      <a:pt x="267" y="10"/>
                      <a:pt x="267" y="10"/>
                      <a:pt x="267" y="10"/>
                    </a:cubicBezTo>
                    <a:cubicBezTo>
                      <a:pt x="271" y="4"/>
                      <a:pt x="277" y="0"/>
                      <a:pt x="284" y="0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291" y="0"/>
                      <a:pt x="298" y="4"/>
                      <a:pt x="302" y="9"/>
                    </a:cubicBezTo>
                    <a:cubicBezTo>
                      <a:pt x="354" y="80"/>
                      <a:pt x="354" y="80"/>
                      <a:pt x="354" y="80"/>
                    </a:cubicBezTo>
                    <a:cubicBezTo>
                      <a:pt x="441" y="50"/>
                      <a:pt x="441" y="50"/>
                      <a:pt x="441" y="50"/>
                    </a:cubicBezTo>
                    <a:cubicBezTo>
                      <a:pt x="447" y="48"/>
                      <a:pt x="455" y="49"/>
                      <a:pt x="461" y="54"/>
                    </a:cubicBezTo>
                    <a:cubicBezTo>
                      <a:pt x="467" y="58"/>
                      <a:pt x="470" y="65"/>
                      <a:pt x="470" y="72"/>
                    </a:cubicBezTo>
                    <a:cubicBezTo>
                      <a:pt x="466" y="155"/>
                      <a:pt x="466" y="155"/>
                      <a:pt x="466" y="155"/>
                    </a:cubicBezTo>
                    <a:cubicBezTo>
                      <a:pt x="553" y="177"/>
                      <a:pt x="553" y="177"/>
                      <a:pt x="553" y="177"/>
                    </a:cubicBezTo>
                    <a:cubicBezTo>
                      <a:pt x="561" y="179"/>
                      <a:pt x="567" y="185"/>
                      <a:pt x="569" y="192"/>
                    </a:cubicBezTo>
                    <a:cubicBezTo>
                      <a:pt x="571" y="199"/>
                      <a:pt x="570" y="207"/>
                      <a:pt x="565" y="213"/>
                    </a:cubicBezTo>
                    <a:cubicBezTo>
                      <a:pt x="510" y="279"/>
                      <a:pt x="510" y="279"/>
                      <a:pt x="510" y="279"/>
                    </a:cubicBezTo>
                    <a:cubicBezTo>
                      <a:pt x="565" y="342"/>
                      <a:pt x="565" y="342"/>
                      <a:pt x="565" y="342"/>
                    </a:cubicBezTo>
                    <a:cubicBezTo>
                      <a:pt x="570" y="348"/>
                      <a:pt x="571" y="356"/>
                      <a:pt x="569" y="363"/>
                    </a:cubicBezTo>
                    <a:close/>
                    <a:moveTo>
                      <a:pt x="386" y="278"/>
                    </a:moveTo>
                    <a:cubicBezTo>
                      <a:pt x="386" y="222"/>
                      <a:pt x="340" y="178"/>
                      <a:pt x="285" y="178"/>
                    </a:cubicBezTo>
                    <a:cubicBezTo>
                      <a:pt x="231" y="178"/>
                      <a:pt x="185" y="222"/>
                      <a:pt x="185" y="278"/>
                    </a:cubicBezTo>
                    <a:cubicBezTo>
                      <a:pt x="185" y="334"/>
                      <a:pt x="231" y="379"/>
                      <a:pt x="285" y="379"/>
                    </a:cubicBezTo>
                    <a:cubicBezTo>
                      <a:pt x="340" y="379"/>
                      <a:pt x="386" y="334"/>
                      <a:pt x="386" y="27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6556634-23E1-86E6-2F21-A2FEE52DED42}"/>
              </a:ext>
            </a:extLst>
          </p:cNvPr>
          <p:cNvGrpSpPr/>
          <p:nvPr/>
        </p:nvGrpSpPr>
        <p:grpSpPr>
          <a:xfrm>
            <a:off x="875502" y="4849986"/>
            <a:ext cx="581759" cy="581759"/>
            <a:chOff x="1088431" y="4890473"/>
            <a:chExt cx="581759" cy="581759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4EF5131A-0FC0-C8D0-91F9-591CC76029CD}"/>
                </a:ext>
              </a:extLst>
            </p:cNvPr>
            <p:cNvSpPr/>
            <p:nvPr/>
          </p:nvSpPr>
          <p:spPr>
            <a:xfrm>
              <a:off x="1088431" y="4890473"/>
              <a:ext cx="581759" cy="581759"/>
            </a:xfrm>
            <a:prstGeom prst="ellipse">
              <a:avLst/>
            </a:prstGeom>
            <a:solidFill>
              <a:sysClr val="window" lastClr="FFFFFF"/>
            </a:solidFill>
            <a:ln w="9525" cap="rnd" cmpd="sng" algn="ctr">
              <a:solidFill>
                <a:srgbClr val="00338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i="0" u="none" strike="noStrike" kern="0" cap="none" spc="0" normalizeH="0" baseline="0" noProof="0">
                <a:ln>
                  <a:noFill/>
                </a:ln>
                <a:solidFill>
                  <a:srgbClr val="003386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75" name="bcgBugs_">
              <a:extLst>
                <a:ext uri="{FF2B5EF4-FFF2-40B4-BE49-F238E27FC236}">
                  <a16:creationId xmlns:a16="http://schemas.microsoft.com/office/drawing/2014/main" id="{C454B6B9-23D1-2D07-CDEB-092F50B59FD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61587" y="4963629"/>
              <a:ext cx="435447" cy="435447"/>
              <a:chOff x="727" y="1148"/>
              <a:chExt cx="2375" cy="2375"/>
            </a:xfrm>
          </p:grpSpPr>
          <p:sp>
            <p:nvSpPr>
              <p:cNvPr id="76" name="AutoShape 4">
                <a:extLst>
                  <a:ext uri="{FF2B5EF4-FFF2-40B4-BE49-F238E27FC236}">
                    <a16:creationId xmlns:a16="http://schemas.microsoft.com/office/drawing/2014/main" id="{3C5F313A-DDD1-0AE3-6422-6B8F299FBD1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27" y="1148"/>
                <a:ext cx="2375" cy="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6">
                <a:extLst>
                  <a:ext uri="{FF2B5EF4-FFF2-40B4-BE49-F238E27FC236}">
                    <a16:creationId xmlns:a16="http://schemas.microsoft.com/office/drawing/2014/main" id="{25B9FE1B-AF91-0C41-13BC-4C4144F297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3" y="1602"/>
                <a:ext cx="2094" cy="1462"/>
              </a:xfrm>
              <a:custGeom>
                <a:avLst/>
                <a:gdLst>
                  <a:gd name="T0" fmla="*/ 512 w 881"/>
                  <a:gd name="T1" fmla="*/ 255 h 615"/>
                  <a:gd name="T2" fmla="*/ 588 w 881"/>
                  <a:gd name="T3" fmla="*/ 65 h 615"/>
                  <a:gd name="T4" fmla="*/ 379 w 881"/>
                  <a:gd name="T5" fmla="*/ 67 h 615"/>
                  <a:gd name="T6" fmla="*/ 178 w 881"/>
                  <a:gd name="T7" fmla="*/ 139 h 615"/>
                  <a:gd name="T8" fmla="*/ 222 w 881"/>
                  <a:gd name="T9" fmla="*/ 193 h 615"/>
                  <a:gd name="T10" fmla="*/ 242 w 881"/>
                  <a:gd name="T11" fmla="*/ 177 h 615"/>
                  <a:gd name="T12" fmla="*/ 185 w 881"/>
                  <a:gd name="T13" fmla="*/ 264 h 615"/>
                  <a:gd name="T14" fmla="*/ 132 w 881"/>
                  <a:gd name="T15" fmla="*/ 262 h 615"/>
                  <a:gd name="T16" fmla="*/ 7 w 881"/>
                  <a:gd name="T17" fmla="*/ 293 h 615"/>
                  <a:gd name="T18" fmla="*/ 139 w 881"/>
                  <a:gd name="T19" fmla="*/ 552 h 615"/>
                  <a:gd name="T20" fmla="*/ 187 w 881"/>
                  <a:gd name="T21" fmla="*/ 615 h 615"/>
                  <a:gd name="T22" fmla="*/ 247 w 881"/>
                  <a:gd name="T23" fmla="*/ 568 h 615"/>
                  <a:gd name="T24" fmla="*/ 289 w 881"/>
                  <a:gd name="T25" fmla="*/ 491 h 615"/>
                  <a:gd name="T26" fmla="*/ 407 w 881"/>
                  <a:gd name="T27" fmla="*/ 483 h 615"/>
                  <a:gd name="T28" fmla="*/ 353 w 881"/>
                  <a:gd name="T29" fmla="*/ 534 h 615"/>
                  <a:gd name="T30" fmla="*/ 397 w 881"/>
                  <a:gd name="T31" fmla="*/ 561 h 615"/>
                  <a:gd name="T32" fmla="*/ 562 w 881"/>
                  <a:gd name="T33" fmla="*/ 443 h 615"/>
                  <a:gd name="T34" fmla="*/ 702 w 881"/>
                  <a:gd name="T35" fmla="*/ 251 h 615"/>
                  <a:gd name="T36" fmla="*/ 708 w 881"/>
                  <a:gd name="T37" fmla="*/ 218 h 615"/>
                  <a:gd name="T38" fmla="*/ 410 w 881"/>
                  <a:gd name="T39" fmla="*/ 124 h 615"/>
                  <a:gd name="T40" fmla="*/ 410 w 881"/>
                  <a:gd name="T41" fmla="*/ 212 h 615"/>
                  <a:gd name="T42" fmla="*/ 410 w 881"/>
                  <a:gd name="T43" fmla="*/ 124 h 615"/>
                  <a:gd name="T44" fmla="*/ 445 w 881"/>
                  <a:gd name="T45" fmla="*/ 416 h 615"/>
                  <a:gd name="T46" fmla="*/ 362 w 881"/>
                  <a:gd name="T47" fmla="*/ 425 h 615"/>
                  <a:gd name="T48" fmla="*/ 360 w 881"/>
                  <a:gd name="T49" fmla="*/ 425 h 615"/>
                  <a:gd name="T50" fmla="*/ 259 w 881"/>
                  <a:gd name="T51" fmla="*/ 417 h 615"/>
                  <a:gd name="T52" fmla="*/ 261 w 881"/>
                  <a:gd name="T53" fmla="*/ 352 h 615"/>
                  <a:gd name="T54" fmla="*/ 459 w 881"/>
                  <a:gd name="T55" fmla="*/ 322 h 615"/>
                  <a:gd name="T56" fmla="*/ 479 w 881"/>
                  <a:gd name="T57" fmla="*/ 394 h 615"/>
                  <a:gd name="T58" fmla="*/ 850 w 881"/>
                  <a:gd name="T59" fmla="*/ 19 h 615"/>
                  <a:gd name="T60" fmla="*/ 765 w 881"/>
                  <a:gd name="T61" fmla="*/ 6 h 615"/>
                  <a:gd name="T62" fmla="*/ 699 w 881"/>
                  <a:gd name="T63" fmla="*/ 28 h 615"/>
                  <a:gd name="T64" fmla="*/ 720 w 881"/>
                  <a:gd name="T65" fmla="*/ 28 h 615"/>
                  <a:gd name="T66" fmla="*/ 697 w 881"/>
                  <a:gd name="T67" fmla="*/ 61 h 615"/>
                  <a:gd name="T68" fmla="*/ 652 w 881"/>
                  <a:gd name="T69" fmla="*/ 50 h 615"/>
                  <a:gd name="T70" fmla="*/ 638 w 881"/>
                  <a:gd name="T71" fmla="*/ 77 h 615"/>
                  <a:gd name="T72" fmla="*/ 664 w 881"/>
                  <a:gd name="T73" fmla="*/ 178 h 615"/>
                  <a:gd name="T74" fmla="*/ 691 w 881"/>
                  <a:gd name="T75" fmla="*/ 170 h 615"/>
                  <a:gd name="T76" fmla="*/ 721 w 881"/>
                  <a:gd name="T77" fmla="*/ 143 h 615"/>
                  <a:gd name="T78" fmla="*/ 774 w 881"/>
                  <a:gd name="T79" fmla="*/ 155 h 615"/>
                  <a:gd name="T80" fmla="*/ 737 w 881"/>
                  <a:gd name="T81" fmla="*/ 168 h 615"/>
                  <a:gd name="T82" fmla="*/ 807 w 881"/>
                  <a:gd name="T83" fmla="*/ 153 h 615"/>
                  <a:gd name="T84" fmla="*/ 866 w 881"/>
                  <a:gd name="T85" fmla="*/ 109 h 615"/>
                  <a:gd name="T86" fmla="*/ 807 w 881"/>
                  <a:gd name="T87" fmla="*/ 86 h 615"/>
                  <a:gd name="T88" fmla="*/ 771 w 881"/>
                  <a:gd name="T89" fmla="*/ 44 h 615"/>
                  <a:gd name="T90" fmla="*/ 797 w 881"/>
                  <a:gd name="T91" fmla="*/ 43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81" h="615">
                    <a:moveTo>
                      <a:pt x="702" y="214"/>
                    </a:moveTo>
                    <a:cubicBezTo>
                      <a:pt x="636" y="197"/>
                      <a:pt x="574" y="211"/>
                      <a:pt x="512" y="255"/>
                    </a:cubicBezTo>
                    <a:cubicBezTo>
                      <a:pt x="510" y="181"/>
                      <a:pt x="551" y="125"/>
                      <a:pt x="586" y="74"/>
                    </a:cubicBezTo>
                    <a:cubicBezTo>
                      <a:pt x="588" y="72"/>
                      <a:pt x="589" y="69"/>
                      <a:pt x="588" y="65"/>
                    </a:cubicBezTo>
                    <a:cubicBezTo>
                      <a:pt x="587" y="62"/>
                      <a:pt x="584" y="60"/>
                      <a:pt x="582" y="59"/>
                    </a:cubicBezTo>
                    <a:cubicBezTo>
                      <a:pt x="508" y="35"/>
                      <a:pt x="442" y="38"/>
                      <a:pt x="379" y="67"/>
                    </a:cubicBezTo>
                    <a:cubicBezTo>
                      <a:pt x="368" y="72"/>
                      <a:pt x="356" y="75"/>
                      <a:pt x="345" y="74"/>
                    </a:cubicBezTo>
                    <a:cubicBezTo>
                      <a:pt x="286" y="71"/>
                      <a:pt x="233" y="92"/>
                      <a:pt x="178" y="139"/>
                    </a:cubicBezTo>
                    <a:cubicBezTo>
                      <a:pt x="163" y="153"/>
                      <a:pt x="161" y="172"/>
                      <a:pt x="174" y="188"/>
                    </a:cubicBezTo>
                    <a:cubicBezTo>
                      <a:pt x="187" y="202"/>
                      <a:pt x="204" y="204"/>
                      <a:pt x="222" y="193"/>
                    </a:cubicBezTo>
                    <a:cubicBezTo>
                      <a:pt x="226" y="190"/>
                      <a:pt x="229" y="187"/>
                      <a:pt x="233" y="185"/>
                    </a:cubicBezTo>
                    <a:cubicBezTo>
                      <a:pt x="236" y="182"/>
                      <a:pt x="239" y="179"/>
                      <a:pt x="242" y="177"/>
                    </a:cubicBezTo>
                    <a:cubicBezTo>
                      <a:pt x="244" y="176"/>
                      <a:pt x="246" y="175"/>
                      <a:pt x="248" y="173"/>
                    </a:cubicBezTo>
                    <a:cubicBezTo>
                      <a:pt x="226" y="204"/>
                      <a:pt x="206" y="234"/>
                      <a:pt x="185" y="264"/>
                    </a:cubicBezTo>
                    <a:cubicBezTo>
                      <a:pt x="184" y="265"/>
                      <a:pt x="179" y="266"/>
                      <a:pt x="176" y="266"/>
                    </a:cubicBezTo>
                    <a:cubicBezTo>
                      <a:pt x="161" y="264"/>
                      <a:pt x="146" y="263"/>
                      <a:pt x="132" y="262"/>
                    </a:cubicBezTo>
                    <a:cubicBezTo>
                      <a:pt x="111" y="259"/>
                      <a:pt x="88" y="257"/>
                      <a:pt x="66" y="256"/>
                    </a:cubicBezTo>
                    <a:cubicBezTo>
                      <a:pt x="24" y="255"/>
                      <a:pt x="11" y="278"/>
                      <a:pt x="7" y="293"/>
                    </a:cubicBezTo>
                    <a:cubicBezTo>
                      <a:pt x="0" y="319"/>
                      <a:pt x="11" y="340"/>
                      <a:pt x="40" y="356"/>
                    </a:cubicBezTo>
                    <a:cubicBezTo>
                      <a:pt x="116" y="399"/>
                      <a:pt x="149" y="464"/>
                      <a:pt x="139" y="552"/>
                    </a:cubicBezTo>
                    <a:cubicBezTo>
                      <a:pt x="135" y="580"/>
                      <a:pt x="145" y="600"/>
                      <a:pt x="167" y="610"/>
                    </a:cubicBezTo>
                    <a:cubicBezTo>
                      <a:pt x="174" y="613"/>
                      <a:pt x="180" y="615"/>
                      <a:pt x="187" y="615"/>
                    </a:cubicBezTo>
                    <a:cubicBezTo>
                      <a:pt x="203" y="615"/>
                      <a:pt x="218" y="606"/>
                      <a:pt x="231" y="590"/>
                    </a:cubicBezTo>
                    <a:cubicBezTo>
                      <a:pt x="238" y="582"/>
                      <a:pt x="243" y="574"/>
                      <a:pt x="247" y="568"/>
                    </a:cubicBezTo>
                    <a:cubicBezTo>
                      <a:pt x="247" y="568"/>
                      <a:pt x="247" y="568"/>
                      <a:pt x="249" y="564"/>
                    </a:cubicBezTo>
                    <a:cubicBezTo>
                      <a:pt x="263" y="540"/>
                      <a:pt x="276" y="516"/>
                      <a:pt x="289" y="491"/>
                    </a:cubicBezTo>
                    <a:cubicBezTo>
                      <a:pt x="293" y="484"/>
                      <a:pt x="295" y="483"/>
                      <a:pt x="305" y="483"/>
                    </a:cubicBezTo>
                    <a:cubicBezTo>
                      <a:pt x="339" y="483"/>
                      <a:pt x="373" y="483"/>
                      <a:pt x="407" y="483"/>
                    </a:cubicBezTo>
                    <a:cubicBezTo>
                      <a:pt x="398" y="487"/>
                      <a:pt x="389" y="490"/>
                      <a:pt x="381" y="493"/>
                    </a:cubicBezTo>
                    <a:cubicBezTo>
                      <a:pt x="358" y="501"/>
                      <a:pt x="349" y="514"/>
                      <a:pt x="353" y="534"/>
                    </a:cubicBezTo>
                    <a:cubicBezTo>
                      <a:pt x="355" y="547"/>
                      <a:pt x="362" y="553"/>
                      <a:pt x="367" y="557"/>
                    </a:cubicBezTo>
                    <a:cubicBezTo>
                      <a:pt x="376" y="562"/>
                      <a:pt x="386" y="563"/>
                      <a:pt x="397" y="561"/>
                    </a:cubicBezTo>
                    <a:cubicBezTo>
                      <a:pt x="471" y="542"/>
                      <a:pt x="518" y="509"/>
                      <a:pt x="548" y="456"/>
                    </a:cubicBezTo>
                    <a:cubicBezTo>
                      <a:pt x="551" y="451"/>
                      <a:pt x="557" y="445"/>
                      <a:pt x="562" y="443"/>
                    </a:cubicBezTo>
                    <a:cubicBezTo>
                      <a:pt x="620" y="413"/>
                      <a:pt x="661" y="367"/>
                      <a:pt x="685" y="304"/>
                    </a:cubicBezTo>
                    <a:cubicBezTo>
                      <a:pt x="691" y="287"/>
                      <a:pt x="696" y="270"/>
                      <a:pt x="702" y="251"/>
                    </a:cubicBezTo>
                    <a:cubicBezTo>
                      <a:pt x="704" y="243"/>
                      <a:pt x="706" y="234"/>
                      <a:pt x="709" y="226"/>
                    </a:cubicBezTo>
                    <a:cubicBezTo>
                      <a:pt x="710" y="224"/>
                      <a:pt x="709" y="220"/>
                      <a:pt x="708" y="218"/>
                    </a:cubicBezTo>
                    <a:cubicBezTo>
                      <a:pt x="706" y="216"/>
                      <a:pt x="704" y="214"/>
                      <a:pt x="702" y="214"/>
                    </a:cubicBezTo>
                    <a:close/>
                    <a:moveTo>
                      <a:pt x="410" y="124"/>
                    </a:moveTo>
                    <a:cubicBezTo>
                      <a:pt x="434" y="124"/>
                      <a:pt x="453" y="144"/>
                      <a:pt x="453" y="168"/>
                    </a:cubicBezTo>
                    <a:cubicBezTo>
                      <a:pt x="453" y="192"/>
                      <a:pt x="434" y="212"/>
                      <a:pt x="410" y="212"/>
                    </a:cubicBezTo>
                    <a:cubicBezTo>
                      <a:pt x="386" y="212"/>
                      <a:pt x="366" y="192"/>
                      <a:pt x="366" y="168"/>
                    </a:cubicBezTo>
                    <a:cubicBezTo>
                      <a:pt x="366" y="144"/>
                      <a:pt x="386" y="124"/>
                      <a:pt x="410" y="124"/>
                    </a:cubicBezTo>
                    <a:close/>
                    <a:moveTo>
                      <a:pt x="479" y="394"/>
                    </a:moveTo>
                    <a:cubicBezTo>
                      <a:pt x="472" y="406"/>
                      <a:pt x="459" y="413"/>
                      <a:pt x="445" y="416"/>
                    </a:cubicBezTo>
                    <a:cubicBezTo>
                      <a:pt x="424" y="419"/>
                      <a:pt x="403" y="421"/>
                      <a:pt x="384" y="423"/>
                    </a:cubicBezTo>
                    <a:cubicBezTo>
                      <a:pt x="376" y="424"/>
                      <a:pt x="369" y="425"/>
                      <a:pt x="362" y="425"/>
                    </a:cubicBezTo>
                    <a:cubicBezTo>
                      <a:pt x="361" y="425"/>
                      <a:pt x="361" y="425"/>
                      <a:pt x="361" y="425"/>
                    </a:cubicBezTo>
                    <a:cubicBezTo>
                      <a:pt x="361" y="425"/>
                      <a:pt x="361" y="425"/>
                      <a:pt x="360" y="425"/>
                    </a:cubicBezTo>
                    <a:cubicBezTo>
                      <a:pt x="349" y="425"/>
                      <a:pt x="339" y="424"/>
                      <a:pt x="328" y="423"/>
                    </a:cubicBezTo>
                    <a:cubicBezTo>
                      <a:pt x="305" y="421"/>
                      <a:pt x="282" y="418"/>
                      <a:pt x="259" y="417"/>
                    </a:cubicBezTo>
                    <a:cubicBezTo>
                      <a:pt x="232" y="414"/>
                      <a:pt x="225" y="397"/>
                      <a:pt x="225" y="384"/>
                    </a:cubicBezTo>
                    <a:cubicBezTo>
                      <a:pt x="225" y="355"/>
                      <a:pt x="252" y="353"/>
                      <a:pt x="261" y="352"/>
                    </a:cubicBezTo>
                    <a:cubicBezTo>
                      <a:pt x="306" y="349"/>
                      <a:pt x="363" y="343"/>
                      <a:pt x="419" y="321"/>
                    </a:cubicBezTo>
                    <a:cubicBezTo>
                      <a:pt x="432" y="315"/>
                      <a:pt x="447" y="316"/>
                      <a:pt x="459" y="322"/>
                    </a:cubicBezTo>
                    <a:cubicBezTo>
                      <a:pt x="472" y="329"/>
                      <a:pt x="481" y="340"/>
                      <a:pt x="485" y="355"/>
                    </a:cubicBezTo>
                    <a:cubicBezTo>
                      <a:pt x="488" y="368"/>
                      <a:pt x="487" y="382"/>
                      <a:pt x="479" y="394"/>
                    </a:cubicBezTo>
                    <a:close/>
                    <a:moveTo>
                      <a:pt x="807" y="86"/>
                    </a:moveTo>
                    <a:cubicBezTo>
                      <a:pt x="810" y="56"/>
                      <a:pt x="829" y="37"/>
                      <a:pt x="850" y="19"/>
                    </a:cubicBezTo>
                    <a:cubicBezTo>
                      <a:pt x="827" y="5"/>
                      <a:pt x="804" y="1"/>
                      <a:pt x="779" y="6"/>
                    </a:cubicBezTo>
                    <a:cubicBezTo>
                      <a:pt x="775" y="7"/>
                      <a:pt x="770" y="7"/>
                      <a:pt x="765" y="6"/>
                    </a:cubicBezTo>
                    <a:cubicBezTo>
                      <a:pt x="743" y="0"/>
                      <a:pt x="722" y="5"/>
                      <a:pt x="703" y="16"/>
                    </a:cubicBezTo>
                    <a:cubicBezTo>
                      <a:pt x="699" y="19"/>
                      <a:pt x="697" y="23"/>
                      <a:pt x="699" y="28"/>
                    </a:cubicBezTo>
                    <a:cubicBezTo>
                      <a:pt x="702" y="33"/>
                      <a:pt x="707" y="34"/>
                      <a:pt x="712" y="32"/>
                    </a:cubicBezTo>
                    <a:cubicBezTo>
                      <a:pt x="714" y="31"/>
                      <a:pt x="718" y="29"/>
                      <a:pt x="720" y="28"/>
                    </a:cubicBezTo>
                    <a:cubicBezTo>
                      <a:pt x="726" y="26"/>
                      <a:pt x="732" y="24"/>
                      <a:pt x="738" y="22"/>
                    </a:cubicBezTo>
                    <a:cubicBezTo>
                      <a:pt x="724" y="36"/>
                      <a:pt x="710" y="48"/>
                      <a:pt x="697" y="61"/>
                    </a:cubicBezTo>
                    <a:cubicBezTo>
                      <a:pt x="695" y="62"/>
                      <a:pt x="692" y="62"/>
                      <a:pt x="690" y="62"/>
                    </a:cubicBezTo>
                    <a:cubicBezTo>
                      <a:pt x="677" y="58"/>
                      <a:pt x="665" y="53"/>
                      <a:pt x="652" y="50"/>
                    </a:cubicBezTo>
                    <a:cubicBezTo>
                      <a:pt x="642" y="47"/>
                      <a:pt x="635" y="50"/>
                      <a:pt x="632" y="56"/>
                    </a:cubicBezTo>
                    <a:cubicBezTo>
                      <a:pt x="629" y="63"/>
                      <a:pt x="630" y="70"/>
                      <a:pt x="638" y="77"/>
                    </a:cubicBezTo>
                    <a:cubicBezTo>
                      <a:pt x="663" y="100"/>
                      <a:pt x="670" y="127"/>
                      <a:pt x="659" y="159"/>
                    </a:cubicBezTo>
                    <a:cubicBezTo>
                      <a:pt x="657" y="166"/>
                      <a:pt x="657" y="173"/>
                      <a:pt x="664" y="178"/>
                    </a:cubicBezTo>
                    <a:cubicBezTo>
                      <a:pt x="669" y="183"/>
                      <a:pt x="677" y="182"/>
                      <a:pt x="684" y="176"/>
                    </a:cubicBezTo>
                    <a:cubicBezTo>
                      <a:pt x="686" y="174"/>
                      <a:pt x="689" y="172"/>
                      <a:pt x="691" y="170"/>
                    </a:cubicBezTo>
                    <a:cubicBezTo>
                      <a:pt x="698" y="162"/>
                      <a:pt x="705" y="154"/>
                      <a:pt x="711" y="146"/>
                    </a:cubicBezTo>
                    <a:cubicBezTo>
                      <a:pt x="714" y="142"/>
                      <a:pt x="717" y="142"/>
                      <a:pt x="721" y="143"/>
                    </a:cubicBezTo>
                    <a:cubicBezTo>
                      <a:pt x="739" y="147"/>
                      <a:pt x="756" y="150"/>
                      <a:pt x="773" y="154"/>
                    </a:cubicBezTo>
                    <a:cubicBezTo>
                      <a:pt x="773" y="154"/>
                      <a:pt x="773" y="155"/>
                      <a:pt x="774" y="155"/>
                    </a:cubicBezTo>
                    <a:cubicBezTo>
                      <a:pt x="765" y="157"/>
                      <a:pt x="756" y="158"/>
                      <a:pt x="747" y="159"/>
                    </a:cubicBezTo>
                    <a:cubicBezTo>
                      <a:pt x="742" y="160"/>
                      <a:pt x="737" y="162"/>
                      <a:pt x="737" y="168"/>
                    </a:cubicBezTo>
                    <a:cubicBezTo>
                      <a:pt x="737" y="175"/>
                      <a:pt x="741" y="178"/>
                      <a:pt x="747" y="177"/>
                    </a:cubicBezTo>
                    <a:cubicBezTo>
                      <a:pt x="770" y="177"/>
                      <a:pt x="791" y="171"/>
                      <a:pt x="807" y="153"/>
                    </a:cubicBezTo>
                    <a:cubicBezTo>
                      <a:pt x="808" y="151"/>
                      <a:pt x="811" y="149"/>
                      <a:pt x="814" y="149"/>
                    </a:cubicBezTo>
                    <a:cubicBezTo>
                      <a:pt x="836" y="142"/>
                      <a:pt x="854" y="129"/>
                      <a:pt x="866" y="109"/>
                    </a:cubicBezTo>
                    <a:cubicBezTo>
                      <a:pt x="872" y="101"/>
                      <a:pt x="876" y="92"/>
                      <a:pt x="881" y="84"/>
                    </a:cubicBezTo>
                    <a:cubicBezTo>
                      <a:pt x="856" y="71"/>
                      <a:pt x="832" y="74"/>
                      <a:pt x="807" y="86"/>
                    </a:cubicBezTo>
                    <a:close/>
                    <a:moveTo>
                      <a:pt x="785" y="56"/>
                    </a:moveTo>
                    <a:cubicBezTo>
                      <a:pt x="777" y="57"/>
                      <a:pt x="771" y="51"/>
                      <a:pt x="771" y="44"/>
                    </a:cubicBezTo>
                    <a:cubicBezTo>
                      <a:pt x="770" y="36"/>
                      <a:pt x="776" y="31"/>
                      <a:pt x="783" y="30"/>
                    </a:cubicBezTo>
                    <a:cubicBezTo>
                      <a:pt x="790" y="30"/>
                      <a:pt x="796" y="35"/>
                      <a:pt x="797" y="43"/>
                    </a:cubicBezTo>
                    <a:cubicBezTo>
                      <a:pt x="797" y="50"/>
                      <a:pt x="792" y="56"/>
                      <a:pt x="785" y="5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733F4B6-9B7F-D5B9-776E-CC1E0F5A37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9" imgH="396" progId="TCLayout.ActiveDocument.1">
                  <p:embed/>
                </p:oleObj>
              </mc:Choice>
              <mc:Fallback>
                <p:oleObj name="think-cell Slide" r:id="rId7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33F4B6-9B7F-D5B9-776E-CC1E0F5A37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7167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822CC13-7590-DBED-13F7-4B2BB9E0FD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17" imgH="318" progId="TCLayout.ActiveDocument.1">
                  <p:embed/>
                </p:oleObj>
              </mc:Choice>
              <mc:Fallback>
                <p:oleObj name="think-cell Slide" r:id="rId4" imgW="317" imgH="31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2CC13-7590-DBED-13F7-4B2BB9E0FD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Right Triangle 119">
            <a:extLst>
              <a:ext uri="{FF2B5EF4-FFF2-40B4-BE49-F238E27FC236}">
                <a16:creationId xmlns:a16="http://schemas.microsoft.com/office/drawing/2014/main" id="{C185D191-C61B-2052-9C8C-4946C0F91406}"/>
              </a:ext>
            </a:extLst>
          </p:cNvPr>
          <p:cNvSpPr/>
          <p:nvPr/>
        </p:nvSpPr>
        <p:spPr>
          <a:xfrm flipH="1">
            <a:off x="1548532" y="1376659"/>
            <a:ext cx="203506" cy="204054"/>
          </a:xfrm>
          <a:prstGeom prst="rt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738355-D44A-242B-5807-6C296123EAFA}"/>
              </a:ext>
            </a:extLst>
          </p:cNvPr>
          <p:cNvSpPr/>
          <p:nvPr/>
        </p:nvSpPr>
        <p:spPr>
          <a:xfrm>
            <a:off x="838198" y="1577082"/>
            <a:ext cx="10515599" cy="4643433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: Top Corners Snipped 115">
            <a:extLst>
              <a:ext uri="{FF2B5EF4-FFF2-40B4-BE49-F238E27FC236}">
                <a16:creationId xmlns:a16="http://schemas.microsoft.com/office/drawing/2014/main" id="{2DA8B412-7385-735D-50E8-2D703DB8B2E9}"/>
              </a:ext>
            </a:extLst>
          </p:cNvPr>
          <p:cNvSpPr/>
          <p:nvPr/>
        </p:nvSpPr>
        <p:spPr>
          <a:xfrm>
            <a:off x="1752038" y="1379915"/>
            <a:ext cx="8699339" cy="348587"/>
          </a:xfrm>
          <a:prstGeom prst="snip2SameRect">
            <a:avLst>
              <a:gd name="adj1" fmla="val 0"/>
              <a:gd name="adj2" fmla="val 39813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ample of Tranche-2 Adjudication</a:t>
            </a:r>
          </a:p>
        </p:txBody>
      </p:sp>
      <p:sp>
        <p:nvSpPr>
          <p:cNvPr id="121" name="Right Triangle 120">
            <a:extLst>
              <a:ext uri="{FF2B5EF4-FFF2-40B4-BE49-F238E27FC236}">
                <a16:creationId xmlns:a16="http://schemas.microsoft.com/office/drawing/2014/main" id="{8BD5A250-74A1-58BE-41A3-178565785BE4}"/>
              </a:ext>
            </a:extLst>
          </p:cNvPr>
          <p:cNvSpPr/>
          <p:nvPr/>
        </p:nvSpPr>
        <p:spPr>
          <a:xfrm>
            <a:off x="10445667" y="1376659"/>
            <a:ext cx="203506" cy="204054"/>
          </a:xfrm>
          <a:prstGeom prst="rt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1555F79-E8B5-F4D0-D10B-6C846405E484}"/>
              </a:ext>
            </a:extLst>
          </p:cNvPr>
          <p:cNvSpPr/>
          <p:nvPr/>
        </p:nvSpPr>
        <p:spPr>
          <a:xfrm>
            <a:off x="2090625" y="1852457"/>
            <a:ext cx="748364" cy="714620"/>
          </a:xfrm>
          <a:prstGeom prst="rect">
            <a:avLst/>
          </a:prstGeom>
          <a:solidFill>
            <a:srgbClr val="BAE1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6DEE07A9-CE69-9C29-0336-6CC7D31BA502}"/>
              </a:ext>
            </a:extLst>
          </p:cNvPr>
          <p:cNvSpPr/>
          <p:nvPr/>
        </p:nvSpPr>
        <p:spPr>
          <a:xfrm>
            <a:off x="2090625" y="3449787"/>
            <a:ext cx="748364" cy="714620"/>
          </a:xfrm>
          <a:prstGeom prst="rect">
            <a:avLst/>
          </a:prstGeom>
          <a:solidFill>
            <a:schemeClr val="accent6">
              <a:lumMod val="90000"/>
            </a:schemeClr>
          </a:solidFill>
          <a:ln w="15240">
            <a:solidFill>
              <a:schemeClr val="accent6">
                <a:lumMod val="9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D81D0B0-1005-909E-432A-A21279903242}"/>
              </a:ext>
            </a:extLst>
          </p:cNvPr>
          <p:cNvSpPr/>
          <p:nvPr/>
        </p:nvSpPr>
        <p:spPr>
          <a:xfrm>
            <a:off x="2901213" y="1852457"/>
            <a:ext cx="748364" cy="714620"/>
          </a:xfrm>
          <a:prstGeom prst="rect">
            <a:avLst/>
          </a:prstGeom>
          <a:solidFill>
            <a:srgbClr val="BAE1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C38D360E-D17B-68ED-F90F-A0A8DEEECF35}"/>
              </a:ext>
            </a:extLst>
          </p:cNvPr>
          <p:cNvSpPr/>
          <p:nvPr/>
        </p:nvSpPr>
        <p:spPr>
          <a:xfrm>
            <a:off x="2901159" y="2651122"/>
            <a:ext cx="748364" cy="714620"/>
          </a:xfrm>
          <a:prstGeom prst="rect">
            <a:avLst/>
          </a:prstGeom>
          <a:solidFill>
            <a:schemeClr val="accent6">
              <a:lumMod val="90000"/>
            </a:schemeClr>
          </a:solidFill>
          <a:ln w="15240">
            <a:solidFill>
              <a:schemeClr val="accent6">
                <a:lumMod val="9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AF4128C9-3D28-7ACA-57B2-BD78825CCD5D}"/>
              </a:ext>
            </a:extLst>
          </p:cNvPr>
          <p:cNvSpPr/>
          <p:nvPr/>
        </p:nvSpPr>
        <p:spPr>
          <a:xfrm>
            <a:off x="2901213" y="3449787"/>
            <a:ext cx="748364" cy="714620"/>
          </a:xfrm>
          <a:prstGeom prst="rect">
            <a:avLst/>
          </a:prstGeom>
          <a:solidFill>
            <a:schemeClr val="accent6">
              <a:lumMod val="90000"/>
            </a:schemeClr>
          </a:solidFill>
          <a:ln w="15240">
            <a:solidFill>
              <a:schemeClr val="accent6">
                <a:lumMod val="9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605F2EDF-68F0-9F71-F2BB-037212BFFCD1}"/>
              </a:ext>
            </a:extLst>
          </p:cNvPr>
          <p:cNvSpPr/>
          <p:nvPr/>
        </p:nvSpPr>
        <p:spPr>
          <a:xfrm>
            <a:off x="3711800" y="1852457"/>
            <a:ext cx="748364" cy="7146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7CFCF023-E626-E9B4-EC15-BD80D2FD5C01}"/>
              </a:ext>
            </a:extLst>
          </p:cNvPr>
          <p:cNvSpPr/>
          <p:nvPr/>
        </p:nvSpPr>
        <p:spPr>
          <a:xfrm rot="2674383">
            <a:off x="3564356" y="3006881"/>
            <a:ext cx="1020149" cy="6126"/>
          </a:xfrm>
          <a:custGeom>
            <a:avLst/>
            <a:gdLst>
              <a:gd name="connsiteX0" fmla="*/ 0 w 1028650"/>
              <a:gd name="connsiteY0" fmla="*/ 1896 h 6177"/>
              <a:gd name="connsiteX1" fmla="*/ 1924 w 1028650"/>
              <a:gd name="connsiteY1" fmla="*/ 0 h 6177"/>
              <a:gd name="connsiteX2" fmla="*/ 1028650 w 1028650"/>
              <a:gd name="connsiteY2" fmla="*/ 0 h 6177"/>
              <a:gd name="connsiteX3" fmla="*/ 1022381 w 1028650"/>
              <a:gd name="connsiteY3" fmla="*/ 6177 h 6177"/>
              <a:gd name="connsiteX4" fmla="*/ 4218 w 1028650"/>
              <a:gd name="connsiteY4" fmla="*/ 6177 h 6177"/>
              <a:gd name="connsiteX5" fmla="*/ 0 w 1028650"/>
              <a:gd name="connsiteY5" fmla="*/ 1896 h 6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28650" h="6177">
                <a:moveTo>
                  <a:pt x="0" y="1896"/>
                </a:moveTo>
                <a:lnTo>
                  <a:pt x="1924" y="0"/>
                </a:lnTo>
                <a:lnTo>
                  <a:pt x="1028650" y="0"/>
                </a:lnTo>
                <a:lnTo>
                  <a:pt x="1022381" y="6177"/>
                </a:lnTo>
                <a:lnTo>
                  <a:pt x="4218" y="6177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 w="1524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9728" tIns="54864" rIns="109728" bIns="54864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4F2DEA2D-BFDA-6A14-04E3-60FD456BBCFA}"/>
              </a:ext>
            </a:extLst>
          </p:cNvPr>
          <p:cNvSpPr/>
          <p:nvPr/>
        </p:nvSpPr>
        <p:spPr>
          <a:xfrm rot="2674383">
            <a:off x="3749700" y="2565447"/>
            <a:ext cx="1032727" cy="523336"/>
          </a:xfrm>
          <a:custGeom>
            <a:avLst/>
            <a:gdLst>
              <a:gd name="connsiteX0" fmla="*/ 0 w 1041333"/>
              <a:gd name="connsiteY0" fmla="*/ 527697 h 527697"/>
              <a:gd name="connsiteX1" fmla="*/ 535620 w 1041333"/>
              <a:gd name="connsiteY1" fmla="*/ 0 h 527697"/>
              <a:gd name="connsiteX2" fmla="*/ 1041333 w 1041333"/>
              <a:gd name="connsiteY2" fmla="*/ 513306 h 527697"/>
              <a:gd name="connsiteX3" fmla="*/ 1026726 w 1041333"/>
              <a:gd name="connsiteY3" fmla="*/ 527697 h 527697"/>
              <a:gd name="connsiteX4" fmla="*/ 0 w 1041333"/>
              <a:gd name="connsiteY4" fmla="*/ 527697 h 527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333" h="527697">
                <a:moveTo>
                  <a:pt x="0" y="527697"/>
                </a:moveTo>
                <a:lnTo>
                  <a:pt x="535620" y="0"/>
                </a:lnTo>
                <a:lnTo>
                  <a:pt x="1041333" y="513306"/>
                </a:lnTo>
                <a:lnTo>
                  <a:pt x="1026726" y="527697"/>
                </a:lnTo>
                <a:lnTo>
                  <a:pt x="0" y="527697"/>
                </a:lnTo>
                <a:close/>
              </a:path>
            </a:pathLst>
          </a:custGeom>
          <a:solidFill>
            <a:srgbClr val="CDDCF4"/>
          </a:solidFill>
          <a:ln w="15240">
            <a:solidFill>
              <a:srgbClr val="CDDCF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9728" tIns="54864" rIns="109728" bIns="54864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3EA2BA8C-F369-1A30-0D54-86D94A2310DB}"/>
              </a:ext>
            </a:extLst>
          </p:cNvPr>
          <p:cNvSpPr/>
          <p:nvPr/>
        </p:nvSpPr>
        <p:spPr>
          <a:xfrm rot="2674383">
            <a:off x="3389539" y="2938809"/>
            <a:ext cx="1009749" cy="504818"/>
          </a:xfrm>
          <a:custGeom>
            <a:avLst/>
            <a:gdLst>
              <a:gd name="connsiteX0" fmla="*/ 0 w 1018163"/>
              <a:gd name="connsiteY0" fmla="*/ 0 h 509025"/>
              <a:gd name="connsiteX1" fmla="*/ 1018163 w 1018163"/>
              <a:gd name="connsiteY1" fmla="*/ 0 h 509025"/>
              <a:gd name="connsiteX2" fmla="*/ 501494 w 1018163"/>
              <a:gd name="connsiteY2" fmla="*/ 509025 h 509025"/>
              <a:gd name="connsiteX3" fmla="*/ 0 w 1018163"/>
              <a:gd name="connsiteY3" fmla="*/ 0 h 509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8163" h="509025">
                <a:moveTo>
                  <a:pt x="0" y="0"/>
                </a:moveTo>
                <a:lnTo>
                  <a:pt x="1018163" y="0"/>
                </a:lnTo>
                <a:lnTo>
                  <a:pt x="501494" y="509025"/>
                </a:lnTo>
                <a:lnTo>
                  <a:pt x="0" y="0"/>
                </a:lnTo>
                <a:close/>
              </a:path>
            </a:pathLst>
          </a:custGeom>
          <a:solidFill>
            <a:srgbClr val="FFCBCB"/>
          </a:solidFill>
          <a:ln w="15240">
            <a:solidFill>
              <a:srgbClr val="FFCBC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9728" tIns="54864" rIns="109728" bIns="54864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FBD4E18-5FCE-EE3C-86F2-C60D0829D619}"/>
              </a:ext>
            </a:extLst>
          </p:cNvPr>
          <p:cNvSpPr/>
          <p:nvPr/>
        </p:nvSpPr>
        <p:spPr>
          <a:xfrm>
            <a:off x="3711800" y="3449787"/>
            <a:ext cx="748364" cy="7146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Freeform: Shape 104">
            <a:extLst>
              <a:ext uri="{FF2B5EF4-FFF2-40B4-BE49-F238E27FC236}">
                <a16:creationId xmlns:a16="http://schemas.microsoft.com/office/drawing/2014/main" id="{DB42C15B-9FB8-FDE1-751C-959998997417}"/>
              </a:ext>
            </a:extLst>
          </p:cNvPr>
          <p:cNvSpPr/>
          <p:nvPr/>
        </p:nvSpPr>
        <p:spPr>
          <a:xfrm rot="2674383">
            <a:off x="1943075" y="3006881"/>
            <a:ext cx="1020149" cy="6126"/>
          </a:xfrm>
          <a:custGeom>
            <a:avLst/>
            <a:gdLst>
              <a:gd name="connsiteX0" fmla="*/ 0 w 1028650"/>
              <a:gd name="connsiteY0" fmla="*/ 1896 h 6177"/>
              <a:gd name="connsiteX1" fmla="*/ 1924 w 1028650"/>
              <a:gd name="connsiteY1" fmla="*/ 0 h 6177"/>
              <a:gd name="connsiteX2" fmla="*/ 1028650 w 1028650"/>
              <a:gd name="connsiteY2" fmla="*/ 0 h 6177"/>
              <a:gd name="connsiteX3" fmla="*/ 1022381 w 1028650"/>
              <a:gd name="connsiteY3" fmla="*/ 6177 h 6177"/>
              <a:gd name="connsiteX4" fmla="*/ 4218 w 1028650"/>
              <a:gd name="connsiteY4" fmla="*/ 6177 h 6177"/>
              <a:gd name="connsiteX5" fmla="*/ 0 w 1028650"/>
              <a:gd name="connsiteY5" fmla="*/ 1896 h 6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28650" h="6177">
                <a:moveTo>
                  <a:pt x="0" y="1896"/>
                </a:moveTo>
                <a:lnTo>
                  <a:pt x="1924" y="0"/>
                </a:lnTo>
                <a:lnTo>
                  <a:pt x="1028650" y="0"/>
                </a:lnTo>
                <a:lnTo>
                  <a:pt x="1022381" y="6177"/>
                </a:lnTo>
                <a:lnTo>
                  <a:pt x="4218" y="6177"/>
                </a:lnTo>
                <a:lnTo>
                  <a:pt x="0" y="1896"/>
                </a:lnTo>
                <a:close/>
              </a:path>
            </a:pathLst>
          </a:custGeom>
          <a:solidFill>
            <a:srgbClr val="FFFFFF"/>
          </a:solidFill>
          <a:ln w="1524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9728" tIns="54864" rIns="109728" bIns="54864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BFDE639A-4981-C4A7-769F-C6BE8CF887F0}"/>
              </a:ext>
            </a:extLst>
          </p:cNvPr>
          <p:cNvSpPr/>
          <p:nvPr/>
        </p:nvSpPr>
        <p:spPr>
          <a:xfrm rot="2674383">
            <a:off x="2128419" y="2565447"/>
            <a:ext cx="1032727" cy="523336"/>
          </a:xfrm>
          <a:custGeom>
            <a:avLst/>
            <a:gdLst>
              <a:gd name="connsiteX0" fmla="*/ 0 w 1041333"/>
              <a:gd name="connsiteY0" fmla="*/ 527697 h 527697"/>
              <a:gd name="connsiteX1" fmla="*/ 535620 w 1041333"/>
              <a:gd name="connsiteY1" fmla="*/ 0 h 527697"/>
              <a:gd name="connsiteX2" fmla="*/ 1041333 w 1041333"/>
              <a:gd name="connsiteY2" fmla="*/ 513306 h 527697"/>
              <a:gd name="connsiteX3" fmla="*/ 1026726 w 1041333"/>
              <a:gd name="connsiteY3" fmla="*/ 527697 h 527697"/>
              <a:gd name="connsiteX4" fmla="*/ 0 w 1041333"/>
              <a:gd name="connsiteY4" fmla="*/ 527697 h 527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1333" h="527697">
                <a:moveTo>
                  <a:pt x="0" y="527697"/>
                </a:moveTo>
                <a:lnTo>
                  <a:pt x="535620" y="0"/>
                </a:lnTo>
                <a:lnTo>
                  <a:pt x="1041333" y="513306"/>
                </a:lnTo>
                <a:lnTo>
                  <a:pt x="1026726" y="527697"/>
                </a:lnTo>
                <a:lnTo>
                  <a:pt x="0" y="527697"/>
                </a:lnTo>
                <a:close/>
              </a:path>
            </a:pathLst>
          </a:custGeom>
          <a:solidFill>
            <a:srgbClr val="BAE18F"/>
          </a:solidFill>
          <a:ln w="15240">
            <a:solidFill>
              <a:srgbClr val="92D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9728" tIns="54864" rIns="109728" bIns="54864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C1F9CEA4-6B10-DA4C-D2A5-FBACDF265332}"/>
              </a:ext>
            </a:extLst>
          </p:cNvPr>
          <p:cNvSpPr/>
          <p:nvPr/>
        </p:nvSpPr>
        <p:spPr>
          <a:xfrm rot="2674383">
            <a:off x="1768257" y="2938809"/>
            <a:ext cx="1009749" cy="504818"/>
          </a:xfrm>
          <a:custGeom>
            <a:avLst/>
            <a:gdLst>
              <a:gd name="connsiteX0" fmla="*/ 0 w 1018163"/>
              <a:gd name="connsiteY0" fmla="*/ 0 h 509025"/>
              <a:gd name="connsiteX1" fmla="*/ 1018163 w 1018163"/>
              <a:gd name="connsiteY1" fmla="*/ 0 h 509025"/>
              <a:gd name="connsiteX2" fmla="*/ 501494 w 1018163"/>
              <a:gd name="connsiteY2" fmla="*/ 509025 h 509025"/>
              <a:gd name="connsiteX3" fmla="*/ 0 w 1018163"/>
              <a:gd name="connsiteY3" fmla="*/ 0 h 509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8163" h="509025">
                <a:moveTo>
                  <a:pt x="0" y="0"/>
                </a:moveTo>
                <a:lnTo>
                  <a:pt x="1018163" y="0"/>
                </a:lnTo>
                <a:lnTo>
                  <a:pt x="501494" y="509025"/>
                </a:lnTo>
                <a:lnTo>
                  <a:pt x="0" y="0"/>
                </a:lnTo>
                <a:close/>
              </a:path>
            </a:pathLst>
          </a:custGeom>
          <a:solidFill>
            <a:srgbClr val="FFCBCB"/>
          </a:solidFill>
          <a:ln w="15240">
            <a:solidFill>
              <a:srgbClr val="FFCBC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9728" tIns="54864" rIns="109728" bIns="54864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Oval 20">
            <a:extLst>
              <a:ext uri="{FF2B5EF4-FFF2-40B4-BE49-F238E27FC236}">
                <a16:creationId xmlns:a16="http://schemas.microsoft.com/office/drawing/2014/main" id="{E032188B-8A3D-1F8B-0369-50245EB2481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60861" y="2105820"/>
            <a:ext cx="207892" cy="2078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9" name="Oval 20">
            <a:extLst>
              <a:ext uri="{FF2B5EF4-FFF2-40B4-BE49-F238E27FC236}">
                <a16:creationId xmlns:a16="http://schemas.microsoft.com/office/drawing/2014/main" id="{45B07DB2-86F4-2E11-49F6-5E78C97A386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60861" y="2900591"/>
            <a:ext cx="207892" cy="2078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11" name="Oval 20">
            <a:extLst>
              <a:ext uri="{FF2B5EF4-FFF2-40B4-BE49-F238E27FC236}">
                <a16:creationId xmlns:a16="http://schemas.microsoft.com/office/drawing/2014/main" id="{DCB4A322-6858-3D4A-29DB-2B39B82E1FC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60861" y="3703152"/>
            <a:ext cx="207892" cy="2078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117" name="Oval 20">
            <a:extLst>
              <a:ext uri="{FF2B5EF4-FFF2-40B4-BE49-F238E27FC236}">
                <a16:creationId xmlns:a16="http://schemas.microsoft.com/office/drawing/2014/main" id="{C1BC1D35-05CA-19FC-8270-094C6DB144D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171450" y="2105820"/>
            <a:ext cx="207892" cy="2078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8" name="Oval 20">
            <a:extLst>
              <a:ext uri="{FF2B5EF4-FFF2-40B4-BE49-F238E27FC236}">
                <a16:creationId xmlns:a16="http://schemas.microsoft.com/office/drawing/2014/main" id="{6555097C-F109-AE9A-C2D4-FDE90ACBC95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171450" y="2900591"/>
            <a:ext cx="207892" cy="2078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19" name="Oval 20">
            <a:extLst>
              <a:ext uri="{FF2B5EF4-FFF2-40B4-BE49-F238E27FC236}">
                <a16:creationId xmlns:a16="http://schemas.microsoft.com/office/drawing/2014/main" id="{8AEA26CD-A2FD-3367-0337-B45E5B3425A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171450" y="3703152"/>
            <a:ext cx="207892" cy="2078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22" name="Oval 20">
            <a:extLst>
              <a:ext uri="{FF2B5EF4-FFF2-40B4-BE49-F238E27FC236}">
                <a16:creationId xmlns:a16="http://schemas.microsoft.com/office/drawing/2014/main" id="{D54555F0-D396-7908-E522-918352FCFE5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982036" y="2105820"/>
            <a:ext cx="207892" cy="2078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3" name="Oval 20">
            <a:extLst>
              <a:ext uri="{FF2B5EF4-FFF2-40B4-BE49-F238E27FC236}">
                <a16:creationId xmlns:a16="http://schemas.microsoft.com/office/drawing/2014/main" id="{67599198-AF5D-9928-8183-166BA9F148B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982036" y="2900591"/>
            <a:ext cx="207892" cy="2078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28" name="Oval 20">
            <a:extLst>
              <a:ext uri="{FF2B5EF4-FFF2-40B4-BE49-F238E27FC236}">
                <a16:creationId xmlns:a16="http://schemas.microsoft.com/office/drawing/2014/main" id="{920B91C0-7168-81A7-31CA-EA0D1A2BB92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982036" y="3703152"/>
            <a:ext cx="207892" cy="20789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867162E-10F1-44EA-436A-E2F982F21216}"/>
              </a:ext>
            </a:extLst>
          </p:cNvPr>
          <p:cNvSpPr/>
          <p:nvPr/>
        </p:nvSpPr>
        <p:spPr>
          <a:xfrm>
            <a:off x="2117038" y="1896480"/>
            <a:ext cx="275630" cy="1646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E093C6BB-B1A7-6BFB-3B60-E92BA758A111}"/>
              </a:ext>
            </a:extLst>
          </p:cNvPr>
          <p:cNvSpPr/>
          <p:nvPr/>
        </p:nvSpPr>
        <p:spPr>
          <a:xfrm>
            <a:off x="2117038" y="2681286"/>
            <a:ext cx="275630" cy="1646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/B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717D0292-A089-A9BC-3AA0-38DA28263671}"/>
              </a:ext>
            </a:extLst>
          </p:cNvPr>
          <p:cNvSpPr/>
          <p:nvPr/>
        </p:nvSpPr>
        <p:spPr>
          <a:xfrm>
            <a:off x="2117038" y="3499541"/>
            <a:ext cx="275630" cy="1646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53E2D5F-A17A-7E47-B226-128B064076BF}"/>
              </a:ext>
            </a:extLst>
          </p:cNvPr>
          <p:cNvSpPr/>
          <p:nvPr/>
        </p:nvSpPr>
        <p:spPr>
          <a:xfrm>
            <a:off x="2918455" y="1896480"/>
            <a:ext cx="275630" cy="1646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A07C6E8F-4731-EEF9-3F1F-715D73524E10}"/>
              </a:ext>
            </a:extLst>
          </p:cNvPr>
          <p:cNvSpPr/>
          <p:nvPr/>
        </p:nvSpPr>
        <p:spPr>
          <a:xfrm>
            <a:off x="2918455" y="2681286"/>
            <a:ext cx="275630" cy="1646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581997A-5C9B-1120-739E-15ACD585D98D}"/>
              </a:ext>
            </a:extLst>
          </p:cNvPr>
          <p:cNvSpPr/>
          <p:nvPr/>
        </p:nvSpPr>
        <p:spPr>
          <a:xfrm>
            <a:off x="2918455" y="3499541"/>
            <a:ext cx="275630" cy="1646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14B7CFD4-1001-BEF4-1981-E10DB50A5207}"/>
              </a:ext>
            </a:extLst>
          </p:cNvPr>
          <p:cNvSpPr/>
          <p:nvPr/>
        </p:nvSpPr>
        <p:spPr>
          <a:xfrm>
            <a:off x="3697870" y="1896480"/>
            <a:ext cx="275630" cy="1646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BA0500B0-1ADB-CBC9-1FB2-969AD5BC3E98}"/>
              </a:ext>
            </a:extLst>
          </p:cNvPr>
          <p:cNvSpPr/>
          <p:nvPr/>
        </p:nvSpPr>
        <p:spPr>
          <a:xfrm>
            <a:off x="3697870" y="2681286"/>
            <a:ext cx="275630" cy="1646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/C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0633FC1-5A4D-0DCF-FA76-FFBA491211A6}"/>
              </a:ext>
            </a:extLst>
          </p:cNvPr>
          <p:cNvSpPr/>
          <p:nvPr/>
        </p:nvSpPr>
        <p:spPr>
          <a:xfrm>
            <a:off x="3697870" y="3499541"/>
            <a:ext cx="275630" cy="1646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9728" tIns="54864" rIns="109728" bIns="54864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AFE6FBFD-153D-E1ED-5CFD-111010C0297D}"/>
              </a:ext>
            </a:extLst>
          </p:cNvPr>
          <p:cNvSpPr/>
          <p:nvPr/>
        </p:nvSpPr>
        <p:spPr>
          <a:xfrm>
            <a:off x="6213648" y="3966045"/>
            <a:ext cx="5009346" cy="210314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2459A9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djudication proces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2459A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ep 1: Bid A wins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1, 2, and 4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2459A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Because Bid B's project area is impacted by Bid A winning, it can no longer win its entire project area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2459A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ep 2: Bid C wins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3, 6, and 9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2459A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ep 3: </a:t>
            </a:r>
            <a:r>
              <a:rPr lang="en-US" sz="1400">
                <a:solidFill>
                  <a:srgbClr val="2459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offers a partial award of </a:t>
            </a:r>
            <a:r>
              <a:rPr lang="en-US" sz="1400" err="1">
                <a:solidFill>
                  <a:srgbClr val="2459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BGs</a:t>
            </a:r>
            <a:r>
              <a:rPr lang="en-US" sz="1400">
                <a:solidFill>
                  <a:srgbClr val="2459A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, 7, and 8 during negotiations to bidder B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459A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B291F2-9CCC-4CE4-84BF-E7C9356756A4}"/>
              </a:ext>
            </a:extLst>
          </p:cNvPr>
          <p:cNvSpPr/>
          <p:nvPr/>
        </p:nvSpPr>
        <p:spPr>
          <a:xfrm>
            <a:off x="990402" y="4493750"/>
            <a:ext cx="4569879" cy="1558091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A22666-C67C-0759-C999-613E3B87D9A9}"/>
              </a:ext>
            </a:extLst>
          </p:cNvPr>
          <p:cNvSpPr/>
          <p:nvPr/>
        </p:nvSpPr>
        <p:spPr>
          <a:xfrm>
            <a:off x="989761" y="4207902"/>
            <a:ext cx="827150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id detail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46F879E-C66B-9FB3-1DEB-8218931406E2}"/>
              </a:ext>
            </a:extLst>
          </p:cNvPr>
          <p:cNvCxnSpPr>
            <a:cxnSpLocks/>
          </p:cNvCxnSpPr>
          <p:nvPr/>
        </p:nvCxnSpPr>
        <p:spPr>
          <a:xfrm>
            <a:off x="1082735" y="4422158"/>
            <a:ext cx="12864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AC5CD013-C573-0177-D000-EC039FD432AC}"/>
              </a:ext>
            </a:extLst>
          </p:cNvPr>
          <p:cNvSpPr/>
          <p:nvPr/>
        </p:nvSpPr>
        <p:spPr>
          <a:xfrm>
            <a:off x="1549505" y="4546456"/>
            <a:ext cx="259686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i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21EA43-662E-B836-735A-CB65D6E957D4}"/>
              </a:ext>
            </a:extLst>
          </p:cNvPr>
          <p:cNvSpPr/>
          <p:nvPr/>
        </p:nvSpPr>
        <p:spPr>
          <a:xfrm>
            <a:off x="2650813" y="4546456"/>
            <a:ext cx="975973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ject Are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B61DF0-F16B-4746-618E-328D19983D3A}"/>
              </a:ext>
            </a:extLst>
          </p:cNvPr>
          <p:cNvSpPr/>
          <p:nvPr/>
        </p:nvSpPr>
        <p:spPr>
          <a:xfrm>
            <a:off x="4364211" y="4546456"/>
            <a:ext cx="468077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co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8BB7D0-A13D-8888-29E8-70CEE2611859}"/>
              </a:ext>
            </a:extLst>
          </p:cNvPr>
          <p:cNvCxnSpPr>
            <a:cxnSpLocks/>
          </p:cNvCxnSpPr>
          <p:nvPr/>
        </p:nvCxnSpPr>
        <p:spPr>
          <a:xfrm>
            <a:off x="1495077" y="4777998"/>
            <a:ext cx="393793" cy="0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3EC39E7-EE8A-278A-A82A-A17964559E5B}"/>
              </a:ext>
            </a:extLst>
          </p:cNvPr>
          <p:cNvCxnSpPr>
            <a:cxnSpLocks/>
          </p:cNvCxnSpPr>
          <p:nvPr/>
        </p:nvCxnSpPr>
        <p:spPr>
          <a:xfrm>
            <a:off x="2650813" y="4777998"/>
            <a:ext cx="1073532" cy="0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A4F3E27-87C7-7E8B-6666-DD88FC73CAD2}"/>
              </a:ext>
            </a:extLst>
          </p:cNvPr>
          <p:cNvCxnSpPr>
            <a:cxnSpLocks/>
          </p:cNvCxnSpPr>
          <p:nvPr/>
        </p:nvCxnSpPr>
        <p:spPr>
          <a:xfrm>
            <a:off x="4364211" y="4777998"/>
            <a:ext cx="521488" cy="0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9B06B8A7-14DC-7B17-8C0E-21670446C062}"/>
              </a:ext>
            </a:extLst>
          </p:cNvPr>
          <p:cNvSpPr/>
          <p:nvPr/>
        </p:nvSpPr>
        <p:spPr>
          <a:xfrm>
            <a:off x="1619235" y="4862578"/>
            <a:ext cx="120226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546D97F-8137-3F5E-F600-4718BB7EC895}"/>
              </a:ext>
            </a:extLst>
          </p:cNvPr>
          <p:cNvSpPr/>
          <p:nvPr/>
        </p:nvSpPr>
        <p:spPr>
          <a:xfrm>
            <a:off x="2670722" y="4862578"/>
            <a:ext cx="936155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BG 1, 2, 4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C04B9192-3D07-A3B4-DAA9-BA19BA6C1B56}"/>
              </a:ext>
            </a:extLst>
          </p:cNvPr>
          <p:cNvSpPr/>
          <p:nvPr/>
        </p:nvSpPr>
        <p:spPr>
          <a:xfrm>
            <a:off x="4498864" y="4862578"/>
            <a:ext cx="198773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5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6DF33479-9ECE-7BA9-D1F8-593780810D3B}"/>
              </a:ext>
            </a:extLst>
          </p:cNvPr>
          <p:cNvSpPr/>
          <p:nvPr/>
        </p:nvSpPr>
        <p:spPr>
          <a:xfrm>
            <a:off x="1619235" y="5171571"/>
            <a:ext cx="120226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EFE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9C52D765-6634-F305-A598-C552A1FEF453}"/>
              </a:ext>
            </a:extLst>
          </p:cNvPr>
          <p:cNvSpPr/>
          <p:nvPr/>
        </p:nvSpPr>
        <p:spPr>
          <a:xfrm>
            <a:off x="2471951" y="5171571"/>
            <a:ext cx="1333698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BG 4, 5, 6, 7, 8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459A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9AB1B06A-44DC-6CEB-F05C-5AFDF95ACA94}"/>
              </a:ext>
            </a:extLst>
          </p:cNvPr>
          <p:cNvSpPr/>
          <p:nvPr/>
        </p:nvSpPr>
        <p:spPr>
          <a:xfrm>
            <a:off x="4498864" y="5171571"/>
            <a:ext cx="198772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5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840ED012-C294-4FD4-E0D9-8BD28BD44164}"/>
              </a:ext>
            </a:extLst>
          </p:cNvPr>
          <p:cNvSpPr/>
          <p:nvPr/>
        </p:nvSpPr>
        <p:spPr>
          <a:xfrm>
            <a:off x="1614425" y="5480565"/>
            <a:ext cx="129844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68783E26-3269-A7DE-84DC-2AC092DE24B3}"/>
              </a:ext>
            </a:extLst>
          </p:cNvPr>
          <p:cNvSpPr/>
          <p:nvPr/>
        </p:nvSpPr>
        <p:spPr>
          <a:xfrm>
            <a:off x="2670722" y="5480565"/>
            <a:ext cx="936155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BG 3, 6, 9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8574D0B7-4476-743E-0DE7-A2C864A44FBB}"/>
              </a:ext>
            </a:extLst>
          </p:cNvPr>
          <p:cNvSpPr/>
          <p:nvPr/>
        </p:nvSpPr>
        <p:spPr>
          <a:xfrm>
            <a:off x="4498864" y="5480565"/>
            <a:ext cx="198772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3C8C3F88-53F5-1456-D3CF-17AE35C38427}"/>
              </a:ext>
            </a:extLst>
          </p:cNvPr>
          <p:cNvSpPr/>
          <p:nvPr/>
        </p:nvSpPr>
        <p:spPr>
          <a:xfrm>
            <a:off x="1105677" y="5815983"/>
            <a:ext cx="4339329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l three bids are </a:t>
            </a:r>
            <a:r>
              <a:rPr lang="en-US" sz="10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and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quest subsidy below 2x their Reference Pric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96A5CC7-0B1B-5237-6399-A92BCD58B6FD}"/>
              </a:ext>
            </a:extLst>
          </p:cNvPr>
          <p:cNvSpPr txBox="1">
            <a:spLocks/>
          </p:cNvSpPr>
          <p:nvPr/>
        </p:nvSpPr>
        <p:spPr>
          <a:xfrm>
            <a:off x="630238" y="622300"/>
            <a:ext cx="10933112" cy="38779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all |</a:t>
            </a: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ample of Tranche-2 adjudic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ABAEF76-3E53-16A5-B878-E6009BB36306}"/>
              </a:ext>
            </a:extLst>
          </p:cNvPr>
          <p:cNvSpPr/>
          <p:nvPr/>
        </p:nvSpPr>
        <p:spPr>
          <a:xfrm>
            <a:off x="6213648" y="2223050"/>
            <a:ext cx="5009346" cy="13003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459A9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etitive Overview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2459A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id A scores highest in the cluster of overlapping bids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2459A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id B overlaps with Bid A and i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4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2459A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id C overlaps with Bid B i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459A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6</a:t>
            </a:r>
          </a:p>
        </p:txBody>
      </p:sp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4D87F807-6187-BF51-2394-50358C269F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9" imgH="396" progId="TCLayout.ActiveDocument.1">
                  <p:embed/>
                </p:oleObj>
              </mc:Choice>
              <mc:Fallback>
                <p:oleObj name="think-cell Slide" r:id="rId6" imgW="389" imgH="396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87F807-6187-BF51-2394-50358C269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F95CD63E-DB57-5D3A-24C4-8CAA45B5649E}"/>
              </a:ext>
            </a:extLst>
          </p:cNvPr>
          <p:cNvGrpSpPr/>
          <p:nvPr/>
        </p:nvGrpSpPr>
        <p:grpSpPr>
          <a:xfrm>
            <a:off x="5942913" y="1852457"/>
            <a:ext cx="306171" cy="4079081"/>
            <a:chOff x="5942914" y="2081213"/>
            <a:chExt cx="306171" cy="4079081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4F1CD75-D467-68DE-D6EF-9558292219DE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F2081A2-E4F6-B101-7980-EF13CA6B114F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34" name="Freeform 94">
                <a:extLst>
                  <a:ext uri="{FF2B5EF4-FFF2-40B4-BE49-F238E27FC236}">
                    <a16:creationId xmlns:a16="http://schemas.microsoft.com/office/drawing/2014/main" id="{4794C99B-367A-7167-7168-B1D8E08DDC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1A5BA7"/>
              </a:solidFill>
              <a:ln>
                <a:solidFill>
                  <a:srgbClr val="1A5BA7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 95">
                <a:extLst>
                  <a:ext uri="{FF2B5EF4-FFF2-40B4-BE49-F238E27FC236}">
                    <a16:creationId xmlns:a16="http://schemas.microsoft.com/office/drawing/2014/main" id="{680E22A5-F87D-74D7-FE9F-D27D8461B5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63285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F30024-39C0-F213-CBC7-CA7BEB9CE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0ADC5FD4-0B5D-E906-1788-A3D9552CD7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6090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DC5FD4-0B5D-E906-1788-A3D9552CD7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2">
            <a:extLst>
              <a:ext uri="{FF2B5EF4-FFF2-40B4-BE49-F238E27FC236}">
                <a16:creationId xmlns:a16="http://schemas.microsoft.com/office/drawing/2014/main" id="{C1CDB45D-CC04-246E-FBF9-07A6F4CA8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664797"/>
          </a:xfrm>
        </p:spPr>
        <p:txBody>
          <a:bodyPr vert="horz"/>
          <a:lstStyle/>
          <a:p>
            <a:r>
              <a:rPr lang="en-US" sz="2400" dirty="0">
                <a:solidFill>
                  <a:schemeClr val="tx1"/>
                </a:solidFill>
              </a:rPr>
              <a:t>PAE outreach | </a:t>
            </a:r>
            <a:r>
              <a:rPr lang="en-US" sz="2400" dirty="0">
                <a:solidFill>
                  <a:schemeClr val="tx2"/>
                </a:solidFill>
              </a:rPr>
              <a:t>P</a:t>
            </a:r>
            <a:r>
              <a:rPr lang="en-US" dirty="0">
                <a:solidFill>
                  <a:schemeClr val="tx2"/>
                </a:solidFill>
                <a:latin typeface="+mn-lt"/>
              </a:rPr>
              <a:t>ossible outcomes for partial award eligible </a:t>
            </a:r>
            <a:r>
              <a:rPr lang="en-US" dirty="0" err="1">
                <a:solidFill>
                  <a:schemeClr val="tx2"/>
                </a:solidFill>
                <a:latin typeface="+mn-lt"/>
              </a:rPr>
              <a:t>CBGs</a:t>
            </a:r>
            <a:r>
              <a:rPr lang="en-US" dirty="0">
                <a:solidFill>
                  <a:schemeClr val="tx2"/>
                </a:solidFill>
                <a:latin typeface="+mn-lt"/>
              </a:rPr>
              <a:t> during negotiations</a:t>
            </a:r>
            <a:endParaRPr lang="en-US" dirty="0">
              <a:solidFill>
                <a:schemeClr val="tx2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445C19-E3AA-8C15-9166-059FAB4B6546}"/>
              </a:ext>
            </a:extLst>
          </p:cNvPr>
          <p:cNvGrpSpPr/>
          <p:nvPr/>
        </p:nvGrpSpPr>
        <p:grpSpPr>
          <a:xfrm>
            <a:off x="4823242" y="2048231"/>
            <a:ext cx="306171" cy="4079081"/>
            <a:chOff x="5942914" y="2081213"/>
            <a:chExt cx="306171" cy="4079081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8C544207-C5AC-77B7-68DF-FE2BF0E14F8A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F9E82D7-8C9E-9B8F-DFC6-C865EF345278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29" name="Freeform 94">
                <a:extLst>
                  <a:ext uri="{FF2B5EF4-FFF2-40B4-BE49-F238E27FC236}">
                    <a16:creationId xmlns:a16="http://schemas.microsoft.com/office/drawing/2014/main" id="{393F24D0-D754-E90F-B8B2-3427207E9F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Freeform 95">
                <a:extLst>
                  <a:ext uri="{FF2B5EF4-FFF2-40B4-BE49-F238E27FC236}">
                    <a16:creationId xmlns:a16="http://schemas.microsoft.com/office/drawing/2014/main" id="{C7E1934D-0FF4-0E08-C753-D910E8CDCD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8A50183-EC81-42DB-6E0F-2ED01D9B07E3}"/>
              </a:ext>
            </a:extLst>
          </p:cNvPr>
          <p:cNvSpPr/>
          <p:nvPr/>
        </p:nvSpPr>
        <p:spPr>
          <a:xfrm>
            <a:off x="630000" y="1691532"/>
            <a:ext cx="10933350" cy="4616084"/>
          </a:xfrm>
          <a:prstGeom prst="roundRect">
            <a:avLst>
              <a:gd name="adj" fmla="val 990"/>
            </a:avLst>
          </a:prstGeom>
          <a:noFill/>
          <a:ln w="63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6FE548-C37B-DE9E-7F2C-74DD3FA45E34}"/>
              </a:ext>
            </a:extLst>
          </p:cNvPr>
          <p:cNvSpPr txBox="1"/>
          <p:nvPr/>
        </p:nvSpPr>
        <p:spPr>
          <a:xfrm>
            <a:off x="1059014" y="1428750"/>
            <a:ext cx="3358017" cy="389764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0" rIns="0" bIns="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AE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BG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outcom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D7D1056-89F1-41ED-E937-10AA436351AB}"/>
              </a:ext>
            </a:extLst>
          </p:cNvPr>
          <p:cNvSpPr txBox="1"/>
          <p:nvPr/>
        </p:nvSpPr>
        <p:spPr>
          <a:xfrm>
            <a:off x="6629401" y="1420145"/>
            <a:ext cx="4046648" cy="389764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0" rIns="0" bIns="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D15AE042-CC7C-F87B-A310-55BCBCB986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331561"/>
              </p:ext>
            </p:extLst>
          </p:nvPr>
        </p:nvGraphicFramePr>
        <p:xfrm>
          <a:off x="684350" y="2089890"/>
          <a:ext cx="4107345" cy="42118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07345">
                  <a:extLst>
                    <a:ext uri="{9D8B030D-6E8A-4147-A177-3AD203B41FA5}">
                      <a16:colId xmlns:a16="http://schemas.microsoft.com/office/drawing/2014/main" val="218189516"/>
                    </a:ext>
                  </a:extLst>
                </a:gridCol>
              </a:tblGrid>
              <a:tr h="1259297">
                <a:tc>
                  <a:txBody>
                    <a:bodyPr/>
                    <a:lstStyle/>
                    <a:p>
                      <a:pPr marL="108000" lvl="1" indent="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1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om IPvII</a:t>
                      </a:r>
                    </a:p>
                    <a:p>
                      <a:pPr marL="393750" lvl="1" indent="-28575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Losers of adjudication after Tranche-2 </a:t>
                      </a:r>
                      <a:r>
                        <a:rPr lang="en-US" sz="1200" b="0" i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 be eligible for parts of their proposed project areas</a:t>
                      </a:r>
                      <a:r>
                        <a:rPr lang="en-US" sz="1200" b="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 </a:t>
                      </a:r>
                      <a:r>
                        <a:rPr lang="en-US" sz="1200" i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d not overlap with any other bids</a:t>
                      </a: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If this is the case, they will be invited </a:t>
                      </a:r>
                      <a:r>
                        <a:rPr lang="en-US" sz="1200" b="0" i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accept prorated subsidies </a:t>
                      </a: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these </a:t>
                      </a:r>
                      <a:r>
                        <a:rPr lang="en-US" sz="1200" i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-competitive </a:t>
                      </a:r>
                      <a:r>
                        <a:rPr lang="en-US" sz="1200" i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eas"</a:t>
                      </a:r>
                      <a:r>
                        <a:rPr lang="en-US" sz="1200" i="1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9525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3200552"/>
                  </a:ext>
                </a:extLst>
              </a:tr>
              <a:tr h="1987566">
                <a:tc>
                  <a:txBody>
                    <a:bodyPr/>
                    <a:lstStyle/>
                    <a:p>
                      <a:pPr marL="108000" lvl="1" indent="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1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-competitive PAE </a:t>
                      </a:r>
                      <a:r>
                        <a:rPr lang="en-US" sz="1200" b="1" i="0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Gs</a:t>
                      </a:r>
                      <a:endParaRPr lang="en-US" sz="1200" b="1" i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93750" lvl="1" indent="-285750" fontAlgn="base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BO will enter into direct negotiations with the applicant and offer a </a:t>
                      </a:r>
                      <a:r>
                        <a:rPr lang="en-US" sz="1200" i="0" kern="1200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rated</a:t>
                      </a:r>
                      <a:r>
                        <a:rPr lang="en-US" sz="1200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mount for their non-competitive PAE </a:t>
                      </a:r>
                      <a:r>
                        <a:rPr lang="en-US" sz="1200" i="0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Gs</a:t>
                      </a:r>
                      <a:endParaRPr lang="en-US" sz="1200" i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93750" lvl="1" indent="-285750" fontAlgn="base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offer is </a:t>
                      </a:r>
                      <a:r>
                        <a:rPr lang="en-US" sz="1200" i="0" kern="1200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epted</a:t>
                      </a:r>
                      <a:r>
                        <a:rPr lang="en-US" sz="1200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then that </a:t>
                      </a:r>
                      <a:r>
                        <a:rPr lang="en-US" sz="1200" i="0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G</a:t>
                      </a:r>
                      <a:r>
                        <a:rPr lang="en-US" sz="1200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preliminarily selected</a:t>
                      </a:r>
                    </a:p>
                    <a:p>
                      <a:pPr marL="393750" lvl="1" indent="-285750" fontAlgn="base"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offer is </a:t>
                      </a:r>
                      <a:r>
                        <a:rPr lang="en-US" sz="1200" i="0" kern="1200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jected</a:t>
                      </a:r>
                      <a:r>
                        <a:rPr lang="en-US" sz="1200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then that </a:t>
                      </a:r>
                      <a:r>
                        <a:rPr lang="en-US" sz="1200" i="0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BG</a:t>
                      </a:r>
                      <a:r>
                        <a:rPr lang="en-US" sz="1200" i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ll be available in Tranche-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5686090"/>
                  </a:ext>
                </a:extLst>
              </a:tr>
              <a:tr h="959377">
                <a:tc>
                  <a:txBody>
                    <a:bodyPr/>
                    <a:lstStyle/>
                    <a:p>
                      <a:pPr marL="108000" lvl="1" indent="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Trebuchet MS" panose="020B0603020202020204" pitchFamily="34" charset="0"/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ompetitive PAE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</a:rPr>
                        <a:t>CBGs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  <a:p>
                      <a:pPr marL="324000" lvl="1" indent="-21600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Competitive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residual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(i.e.,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that do not belong to selected bids, but were included in bids from multiple ISPs) will </a:t>
                      </a:r>
                      <a:r>
                        <a:rPr lang="en-US" sz="1200" dirty="0">
                          <a:solidFill>
                            <a:schemeClr val="tx2"/>
                          </a:solidFill>
                        </a:rPr>
                        <a:t>continue to Tranche-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3367509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368EEDD4-D602-210E-1DDA-EC377BBCDA92}"/>
              </a:ext>
            </a:extLst>
          </p:cNvPr>
          <p:cNvSpPr txBox="1"/>
          <p:nvPr/>
        </p:nvSpPr>
        <p:spPr>
          <a:xfrm>
            <a:off x="7738325" y="190829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70E350-CE9B-AAD5-8220-273EBF4208C8}"/>
              </a:ext>
            </a:extLst>
          </p:cNvPr>
          <p:cNvSpPr txBox="1"/>
          <p:nvPr/>
        </p:nvSpPr>
        <p:spPr>
          <a:xfrm>
            <a:off x="6629402" y="1514531"/>
            <a:ext cx="4046648" cy="3492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econfliction examp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ee4pFootnotes">
            <a:extLst>
              <a:ext uri="{FF2B5EF4-FFF2-40B4-BE49-F238E27FC236}">
                <a16:creationId xmlns:a16="http://schemas.microsoft.com/office/drawing/2014/main" id="{61C39910-54BB-D939-2210-3157AE324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999" y="6705703"/>
            <a:ext cx="11086807" cy="1108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1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IPvI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, 2.4.1, pg. 1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D5B5C88-FD17-E89A-7F32-FCEA3360DBCB}"/>
              </a:ext>
            </a:extLst>
          </p:cNvPr>
          <p:cNvSpPr/>
          <p:nvPr/>
        </p:nvSpPr>
        <p:spPr>
          <a:xfrm>
            <a:off x="5381257" y="4749800"/>
            <a:ext cx="5924919" cy="1453650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0040" marR="0" lvl="1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5BA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Blu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bid o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5 and 8 and was Selected</a:t>
            </a:r>
          </a:p>
          <a:p>
            <a:pPr marL="320040" marR="0" lvl="1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Gre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bid o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1, 2, and 5 and lost;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D4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Yello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bid o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2, 3, and 5 and lost:</a:t>
            </a:r>
          </a:p>
          <a:p>
            <a:pPr marL="777240" marR="0" lvl="2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5 and 8 belong to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A5BA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Blue</a:t>
            </a:r>
          </a:p>
          <a:p>
            <a:pPr marL="777240" marR="0" lvl="2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2 was competitive and will be available in T3</a:t>
            </a:r>
          </a:p>
          <a:p>
            <a:pPr marL="777240" marR="0" lvl="2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ARConnec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will negotiate with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Gre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fo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1 and with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D4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Yello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for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3, respectively</a:t>
            </a:r>
          </a:p>
          <a:p>
            <a:pPr marL="777240" marR="0" lvl="2" indent="-219456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1A5BA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If either offer is declined, thos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CBG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Trebuchet MS" panose="020B0603020202020204" pitchFamily="34" charset="0"/>
              </a:rPr>
              <a:t> will be available in Tranche-3 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A6CA511F-CFC3-95E0-8372-7A304609FFB9}"/>
              </a:ext>
            </a:extLst>
          </p:cNvPr>
          <p:cNvGraphicFramePr>
            <a:graphicFrameLocks noGrp="1"/>
          </p:cNvGraphicFramePr>
          <p:nvPr/>
        </p:nvGraphicFramePr>
        <p:xfrm>
          <a:off x="5381257" y="2089890"/>
          <a:ext cx="5924919" cy="24981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4973">
                  <a:extLst>
                    <a:ext uri="{9D8B030D-6E8A-4147-A177-3AD203B41FA5}">
                      <a16:colId xmlns:a16="http://schemas.microsoft.com/office/drawing/2014/main" val="2484408788"/>
                    </a:ext>
                  </a:extLst>
                </a:gridCol>
                <a:gridCol w="1974973">
                  <a:extLst>
                    <a:ext uri="{9D8B030D-6E8A-4147-A177-3AD203B41FA5}">
                      <a16:colId xmlns:a16="http://schemas.microsoft.com/office/drawing/2014/main" val="2489100695"/>
                    </a:ext>
                  </a:extLst>
                </a:gridCol>
                <a:gridCol w="1974973">
                  <a:extLst>
                    <a:ext uri="{9D8B030D-6E8A-4147-A177-3AD203B41FA5}">
                      <a16:colId xmlns:a16="http://schemas.microsoft.com/office/drawing/2014/main" val="2702150678"/>
                    </a:ext>
                  </a:extLst>
                </a:gridCol>
              </a:tblGrid>
              <a:tr h="832723">
                <a:tc>
                  <a:txBody>
                    <a:bodyPr/>
                    <a:lstStyle/>
                    <a:p>
                      <a:pPr algn="ctr"/>
                      <a:r>
                        <a:rPr lang="en-US" b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3447372"/>
                  </a:ext>
                </a:extLst>
              </a:tr>
              <a:tr h="832723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lToBr>
                    <a:lnBlToT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lToBr>
                    <a:lnBlToT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544839"/>
                  </a:ext>
                </a:extLst>
              </a:tr>
              <a:tr h="832723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lToBr>
                    <a:lnBlToT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lToBr>
                    <a:lnBlToTr w="381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2408756"/>
                  </a:ext>
                </a:extLst>
              </a:tr>
            </a:tbl>
          </a:graphicData>
        </a:graphic>
      </p:graphicFrame>
      <p:sp>
        <p:nvSpPr>
          <p:cNvPr id="46" name="Rectangle 45">
            <a:extLst>
              <a:ext uri="{FF2B5EF4-FFF2-40B4-BE49-F238E27FC236}">
                <a16:creationId xmlns:a16="http://schemas.microsoft.com/office/drawing/2014/main" id="{4034122C-1C6E-3E6F-09EE-A26AFA86263B}"/>
              </a:ext>
            </a:extLst>
          </p:cNvPr>
          <p:cNvSpPr/>
          <p:nvPr/>
        </p:nvSpPr>
        <p:spPr>
          <a:xfrm>
            <a:off x="5381257" y="2089890"/>
            <a:ext cx="1972033" cy="824760"/>
          </a:xfrm>
          <a:prstGeom prst="rect">
            <a:avLst/>
          </a:prstGeom>
          <a:solidFill>
            <a:srgbClr val="00B05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D8A3E0C-6472-9236-29D1-1805CA8E5DE3}"/>
              </a:ext>
            </a:extLst>
          </p:cNvPr>
          <p:cNvSpPr/>
          <p:nvPr/>
        </p:nvSpPr>
        <p:spPr>
          <a:xfrm>
            <a:off x="9322657" y="2089890"/>
            <a:ext cx="1972033" cy="824760"/>
          </a:xfrm>
          <a:prstGeom prst="rect">
            <a:avLst/>
          </a:prstGeom>
          <a:solidFill>
            <a:srgbClr val="FFFF0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27336B8-4CE1-8736-9EB3-B38E9685773A}"/>
              </a:ext>
            </a:extLst>
          </p:cNvPr>
          <p:cNvSpPr/>
          <p:nvPr/>
        </p:nvSpPr>
        <p:spPr>
          <a:xfrm>
            <a:off x="7350624" y="3763299"/>
            <a:ext cx="1972033" cy="824760"/>
          </a:xfrm>
          <a:prstGeom prst="rect">
            <a:avLst/>
          </a:prstGeom>
          <a:solidFill>
            <a:schemeClr val="tx2">
              <a:alpha val="28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047F302-54BE-EBA2-5F65-BC6DA59439D5}"/>
              </a:ext>
            </a:extLst>
          </p:cNvPr>
          <p:cNvSpPr/>
          <p:nvPr/>
        </p:nvSpPr>
        <p:spPr>
          <a:xfrm>
            <a:off x="7357700" y="2089890"/>
            <a:ext cx="976676" cy="824760"/>
          </a:xfrm>
          <a:prstGeom prst="rect">
            <a:avLst/>
          </a:prstGeom>
          <a:solidFill>
            <a:srgbClr val="00B05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8D4677B-F5EF-F095-D50B-EB85AF798396}"/>
              </a:ext>
            </a:extLst>
          </p:cNvPr>
          <p:cNvSpPr/>
          <p:nvPr/>
        </p:nvSpPr>
        <p:spPr>
          <a:xfrm>
            <a:off x="8345981" y="2089890"/>
            <a:ext cx="976676" cy="824760"/>
          </a:xfrm>
          <a:prstGeom prst="rect">
            <a:avLst/>
          </a:prstGeom>
          <a:solidFill>
            <a:srgbClr val="FFFF0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152E80D-D068-87F0-6C4E-56BE8AD4C8AA}"/>
              </a:ext>
            </a:extLst>
          </p:cNvPr>
          <p:cNvSpPr/>
          <p:nvPr/>
        </p:nvSpPr>
        <p:spPr>
          <a:xfrm>
            <a:off x="7350624" y="2921324"/>
            <a:ext cx="658368" cy="824760"/>
          </a:xfrm>
          <a:prstGeom prst="rect">
            <a:avLst/>
          </a:prstGeom>
          <a:solidFill>
            <a:srgbClr val="00B05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CD5D112-73AE-DA9A-888C-D6386DEFACB8}"/>
              </a:ext>
            </a:extLst>
          </p:cNvPr>
          <p:cNvSpPr/>
          <p:nvPr/>
        </p:nvSpPr>
        <p:spPr>
          <a:xfrm>
            <a:off x="8007456" y="2921324"/>
            <a:ext cx="658368" cy="824760"/>
          </a:xfrm>
          <a:prstGeom prst="rect">
            <a:avLst/>
          </a:prstGeom>
          <a:solidFill>
            <a:schemeClr val="tx2">
              <a:alpha val="28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05456EE-8A9B-CCC7-1AD3-3EF2425D159F}"/>
              </a:ext>
            </a:extLst>
          </p:cNvPr>
          <p:cNvSpPr/>
          <p:nvPr/>
        </p:nvSpPr>
        <p:spPr>
          <a:xfrm>
            <a:off x="8677429" y="2921324"/>
            <a:ext cx="658368" cy="824760"/>
          </a:xfrm>
          <a:prstGeom prst="rect">
            <a:avLst/>
          </a:prstGeom>
          <a:solidFill>
            <a:srgbClr val="FFFF00">
              <a:alpha val="28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5F329E0-5568-84CA-B73D-0869698F436E}"/>
              </a:ext>
            </a:extLst>
          </p:cNvPr>
          <p:cNvCxnSpPr/>
          <p:nvPr/>
        </p:nvCxnSpPr>
        <p:spPr>
          <a:xfrm>
            <a:off x="5381258" y="4669155"/>
            <a:ext cx="5924919" cy="0"/>
          </a:xfrm>
          <a:prstGeom prst="line">
            <a:avLst/>
          </a:prstGeom>
          <a:ln w="12700" cap="rnd">
            <a:solidFill>
              <a:schemeClr val="bg1">
                <a:lumMod val="8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95D35D54-E5A2-DB45-540A-3FD6A3332F96}"/>
              </a:ext>
            </a:extLst>
          </p:cNvPr>
          <p:cNvSpPr/>
          <p:nvPr/>
        </p:nvSpPr>
        <p:spPr>
          <a:xfrm>
            <a:off x="5745604" y="2647112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ct negoti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6E5B8A7-C81A-3271-B03E-666E0DC92F47}"/>
              </a:ext>
            </a:extLst>
          </p:cNvPr>
          <p:cNvSpPr/>
          <p:nvPr/>
        </p:nvSpPr>
        <p:spPr>
          <a:xfrm>
            <a:off x="9702814" y="2647112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ct negotiation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B8D755A-64E3-E1D7-7A4C-57004A5ACE4B}"/>
              </a:ext>
            </a:extLst>
          </p:cNvPr>
          <p:cNvSpPr/>
          <p:nvPr/>
        </p:nvSpPr>
        <p:spPr>
          <a:xfrm>
            <a:off x="7661519" y="2647112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3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AB41731-FFE2-43DA-5C94-7AB45820737B}"/>
              </a:ext>
            </a:extLst>
          </p:cNvPr>
          <p:cNvSpPr/>
          <p:nvPr/>
        </p:nvSpPr>
        <p:spPr>
          <a:xfrm>
            <a:off x="7661519" y="3456864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41B69269-9121-E565-F5F8-5BE3D6BE619E}"/>
              </a:ext>
            </a:extLst>
          </p:cNvPr>
          <p:cNvSpPr/>
          <p:nvPr/>
        </p:nvSpPr>
        <p:spPr>
          <a:xfrm>
            <a:off x="7661519" y="4281624"/>
            <a:ext cx="1364393" cy="1468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e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C239450-836C-AFE6-B08A-DCC3C91F481A}"/>
              </a:ext>
            </a:extLst>
          </p:cNvPr>
          <p:cNvSpPr/>
          <p:nvPr/>
        </p:nvSpPr>
        <p:spPr>
          <a:xfrm>
            <a:off x="827630" y="4221205"/>
            <a:ext cx="193559" cy="1238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B5C7794-E652-1C32-5A20-2562807BF72F}"/>
              </a:ext>
            </a:extLst>
          </p:cNvPr>
          <p:cNvGrpSpPr/>
          <p:nvPr/>
        </p:nvGrpSpPr>
        <p:grpSpPr>
          <a:xfrm>
            <a:off x="629999" y="6356469"/>
            <a:ext cx="10933350" cy="319748"/>
            <a:chOff x="4377840" y="5787468"/>
            <a:chExt cx="7184161" cy="53392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8EC10AA-2B5C-D92E-AEB8-52A3A3FEF07E}"/>
                </a:ext>
              </a:extLst>
            </p:cNvPr>
            <p:cNvSpPr/>
            <p:nvPr/>
          </p:nvSpPr>
          <p:spPr>
            <a:xfrm>
              <a:off x="4416473" y="5851901"/>
              <a:ext cx="7145528" cy="469490"/>
            </a:xfrm>
            <a:prstGeom prst="rect">
              <a:avLst/>
            </a:prstGeom>
            <a:solidFill>
              <a:srgbClr val="1A5BA7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8461A80-957E-D941-93B4-91A534F72F97}"/>
                </a:ext>
              </a:extLst>
            </p:cNvPr>
            <p:cNvSpPr/>
            <p:nvPr/>
          </p:nvSpPr>
          <p:spPr>
            <a:xfrm>
              <a:off x="4377840" y="5787468"/>
              <a:ext cx="7161697" cy="518097"/>
            </a:xfrm>
            <a:prstGeom prst="rect">
              <a:avLst/>
            </a:prstGeom>
            <a:solidFill>
              <a:srgbClr val="FFFFFF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marL="108000" marR="0" lvl="1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5BA7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1A5BA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te |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For this process, a "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mpetitive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" PAE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BG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is defined as a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BG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that received bids from </a:t>
              </a: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re than 1 applicant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; if a PAE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BG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received multiple bids from only </a:t>
              </a:r>
              <a:r>
                <a:rPr lang="en-US" sz="1100" i="1" dirty="0">
                  <a:solidFill>
                    <a:srgbClr val="020101"/>
                  </a:solidFill>
                  <a:latin typeface="Arial" panose="020B0604020202020204"/>
                </a:rPr>
                <a:t>1 </a:t>
              </a:r>
              <a:r>
                <a:rPr kumimoji="0" lang="en-US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pplicant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 it will be considered "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n-competitive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"  and will be eligible for this pro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0615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C0BDCD70-F446-AC46-1DA8-DC0451DD8F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507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BDCD70-F446-AC46-1DA8-DC0451DD8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2">
            <a:extLst>
              <a:ext uri="{FF2B5EF4-FFF2-40B4-BE49-F238E27FC236}">
                <a16:creationId xmlns:a16="http://schemas.microsoft.com/office/drawing/2014/main" id="{85691C05-73D8-AD57-7C2A-90A309B0D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 sz="2400" dirty="0">
                <a:solidFill>
                  <a:schemeClr val="tx1"/>
                </a:solidFill>
              </a:rPr>
              <a:t>PAE outreach | </a:t>
            </a:r>
            <a:r>
              <a:rPr lang="en-US" sz="2400" dirty="0">
                <a:solidFill>
                  <a:schemeClr val="tx2"/>
                </a:solidFill>
              </a:rPr>
              <a:t>Methodology for prorating partial award counteroffers</a:t>
            </a:r>
            <a:endParaRPr lang="en-US" i="1" dirty="0">
              <a:solidFill>
                <a:schemeClr val="tx2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11303C8-AFF0-EACB-2E7A-C8518207C14B}"/>
              </a:ext>
            </a:extLst>
          </p:cNvPr>
          <p:cNvCxnSpPr/>
          <p:nvPr/>
        </p:nvCxnSpPr>
        <p:spPr>
          <a:xfrm>
            <a:off x="4976328" y="1934771"/>
            <a:ext cx="0" cy="4079081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A9DAEA5-F81B-BF96-B37A-DE2A549E00E2}"/>
              </a:ext>
            </a:extLst>
          </p:cNvPr>
          <p:cNvGrpSpPr/>
          <p:nvPr/>
        </p:nvGrpSpPr>
        <p:grpSpPr>
          <a:xfrm>
            <a:off x="4823242" y="3820857"/>
            <a:ext cx="306171" cy="306910"/>
            <a:chOff x="5937564" y="3833745"/>
            <a:chExt cx="306171" cy="306910"/>
          </a:xfrm>
        </p:grpSpPr>
        <p:sp>
          <p:nvSpPr>
            <p:cNvPr id="29" name="Freeform 94">
              <a:extLst>
                <a:ext uri="{FF2B5EF4-FFF2-40B4-BE49-F238E27FC236}">
                  <a16:creationId xmlns:a16="http://schemas.microsoft.com/office/drawing/2014/main" id="{8409BDC4-87EA-FDE4-47D2-61B9E5C968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564" y="3833745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95">
              <a:extLst>
                <a:ext uri="{FF2B5EF4-FFF2-40B4-BE49-F238E27FC236}">
                  <a16:creationId xmlns:a16="http://schemas.microsoft.com/office/drawing/2014/main" id="{1D7A72FA-005A-6BC8-16F4-34FD4E767290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3995" y="3876005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13E3DDEE-0D34-476D-FEAF-A033ADB24FE3}"/>
              </a:ext>
            </a:extLst>
          </p:cNvPr>
          <p:cNvSpPr/>
          <p:nvPr/>
        </p:nvSpPr>
        <p:spPr>
          <a:xfrm>
            <a:off x="630000" y="1578072"/>
            <a:ext cx="10933350" cy="4616084"/>
          </a:xfrm>
          <a:prstGeom prst="roundRect">
            <a:avLst>
              <a:gd name="adj" fmla="val 990"/>
            </a:avLst>
          </a:prstGeom>
          <a:noFill/>
          <a:ln w="63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0EF087E-F4A7-908D-ED1C-37802F3A7897}"/>
              </a:ext>
            </a:extLst>
          </p:cNvPr>
          <p:cNvSpPr txBox="1"/>
          <p:nvPr/>
        </p:nvSpPr>
        <p:spPr>
          <a:xfrm>
            <a:off x="1059014" y="1315290"/>
            <a:ext cx="3358017" cy="389764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0" rIns="0" bIns="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E8603A9-40E4-188F-C066-94DF15CAEFFE}"/>
              </a:ext>
            </a:extLst>
          </p:cNvPr>
          <p:cNvSpPr txBox="1"/>
          <p:nvPr/>
        </p:nvSpPr>
        <p:spPr>
          <a:xfrm>
            <a:off x="6629401" y="1306685"/>
            <a:ext cx="4046648" cy="389764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tIns="0" rIns="0" bIns="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BAE863F9-B282-0EE8-AE93-7DA8C4179C20}"/>
              </a:ext>
            </a:extLst>
          </p:cNvPr>
          <p:cNvGraphicFramePr>
            <a:graphicFrameLocks noGrp="1"/>
          </p:cNvGraphicFramePr>
          <p:nvPr/>
        </p:nvGraphicFramePr>
        <p:xfrm>
          <a:off x="5211628" y="2052315"/>
          <a:ext cx="6227698" cy="18859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5637">
                  <a:extLst>
                    <a:ext uri="{9D8B030D-6E8A-4147-A177-3AD203B41FA5}">
                      <a16:colId xmlns:a16="http://schemas.microsoft.com/office/drawing/2014/main" val="968315907"/>
                    </a:ext>
                  </a:extLst>
                </a:gridCol>
                <a:gridCol w="975637">
                  <a:extLst>
                    <a:ext uri="{9D8B030D-6E8A-4147-A177-3AD203B41FA5}">
                      <a16:colId xmlns:a16="http://schemas.microsoft.com/office/drawing/2014/main" val="1609807393"/>
                    </a:ext>
                  </a:extLst>
                </a:gridCol>
                <a:gridCol w="1952443">
                  <a:extLst>
                    <a:ext uri="{9D8B030D-6E8A-4147-A177-3AD203B41FA5}">
                      <a16:colId xmlns:a16="http://schemas.microsoft.com/office/drawing/2014/main" val="1959582238"/>
                    </a:ext>
                  </a:extLst>
                </a:gridCol>
                <a:gridCol w="2323981">
                  <a:extLst>
                    <a:ext uri="{9D8B030D-6E8A-4147-A177-3AD203B41FA5}">
                      <a16:colId xmlns:a16="http://schemas.microsoft.com/office/drawing/2014/main" val="48522297"/>
                    </a:ext>
                  </a:extLst>
                </a:gridCol>
              </a:tblGrid>
              <a:tr h="3482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CBG 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Requested subsi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Reference 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% of total Reference 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944451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/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2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473169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/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3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626373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/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4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2625060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N/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$1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1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4836943"/>
                  </a:ext>
                </a:extLst>
              </a:tr>
              <a:tr h="285755"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Tot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$14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$10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/>
                        <a:t>10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259450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63DBB529-AA48-F2A3-E0BA-B3304BE0CF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350055"/>
              </p:ext>
            </p:extLst>
          </p:nvPr>
        </p:nvGraphicFramePr>
        <p:xfrm>
          <a:off x="791944" y="2052316"/>
          <a:ext cx="3892156" cy="40016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92156">
                  <a:extLst>
                    <a:ext uri="{9D8B030D-6E8A-4147-A177-3AD203B41FA5}">
                      <a16:colId xmlns:a16="http://schemas.microsoft.com/office/drawing/2014/main" val="218189516"/>
                    </a:ext>
                  </a:extLst>
                </a:gridCol>
              </a:tblGrid>
              <a:tr h="1689785">
                <a:tc>
                  <a:txBody>
                    <a:bodyPr/>
                    <a:lstStyle/>
                    <a:p>
                      <a:pPr marL="108000" lvl="1" indent="0" fontAlgn="base">
                        <a:spcAft>
                          <a:spcPts val="60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600" b="1" i="0" kern="1200" baseline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re of Reference Price</a:t>
                      </a:r>
                    </a:p>
                    <a:p>
                      <a:pPr marL="324000" marR="0" lvl="1" indent="-21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Trebuchet MS" panose="020B0603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rated subsidies will be </a:t>
                      </a:r>
                      <a:r>
                        <a:rPr lang="en-US" sz="16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alculated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on a </a:t>
                      </a:r>
                      <a:r>
                        <a:rPr lang="en-US" sz="1600" b="1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portional</a:t>
                      </a:r>
                      <a:r>
                        <a:rPr lang="en-US" sz="16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basis using the </a:t>
                      </a:r>
                      <a:r>
                        <a:rPr lang="en-US" sz="1600" b="1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otal Reference Price 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f the proposed project area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9525">
                      <a:noFill/>
                      <a:prstDash val="soli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73200552"/>
                  </a:ext>
                </a:extLst>
              </a:tr>
              <a:tr h="2311816">
                <a:tc>
                  <a:txBody>
                    <a:bodyPr/>
                    <a:lstStyle/>
                    <a:p>
                      <a:pPr marL="1080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600" b="1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080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trictions</a:t>
                      </a:r>
                    </a:p>
                    <a:p>
                      <a:pPr marL="324000" marR="0" lvl="1" indent="-21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Trebuchet MS" panose="020B0603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Bids that contain alternative technology or requested more than 2x Reference Price </a:t>
                      </a: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will be ineligible</a:t>
                      </a: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 for this process</a:t>
                      </a:r>
                    </a:p>
                    <a:p>
                      <a:pPr marL="1080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6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3367509"/>
                  </a:ext>
                </a:extLst>
              </a:tr>
            </a:tbl>
          </a:graphicData>
        </a:graphic>
      </p:graphicFrame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47C4DF81-8A89-CEE3-1C8C-401D4CC5AD38}"/>
              </a:ext>
            </a:extLst>
          </p:cNvPr>
          <p:cNvSpPr/>
          <p:nvPr/>
        </p:nvSpPr>
        <p:spPr>
          <a:xfrm>
            <a:off x="5534342" y="4616867"/>
            <a:ext cx="5904986" cy="421958"/>
          </a:xfrm>
          <a:prstGeom prst="roundRect">
            <a:avLst/>
          </a:prstGeom>
          <a:noFill/>
          <a:ln w="1905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bid lost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 and 3 to a Selected bid and overlaps with another losing bid in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; it is the sole bidder for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B9A3A9A4-7B29-80D5-1B80-AF303689FA0D}"/>
              </a:ext>
            </a:extLst>
          </p:cNvPr>
          <p:cNvSpPr/>
          <p:nvPr/>
        </p:nvSpPr>
        <p:spPr>
          <a:xfrm>
            <a:off x="5534342" y="5153175"/>
            <a:ext cx="5904986" cy="421958"/>
          </a:xfrm>
          <a:prstGeom prst="roundRect">
            <a:avLst/>
          </a:prstGeom>
          <a:noFill/>
          <a:ln w="1905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losing bid's non-competitive residual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) accounted for 20% of the original project area's total reference pric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E8845A3-AF16-A60A-5F62-E6F2A826C6C5}"/>
              </a:ext>
            </a:extLst>
          </p:cNvPr>
          <p:cNvSpPr/>
          <p:nvPr/>
        </p:nvSpPr>
        <p:spPr>
          <a:xfrm>
            <a:off x="5534342" y="5689483"/>
            <a:ext cx="5904986" cy="421958"/>
          </a:xfrm>
          <a:prstGeom prst="roundRect">
            <a:avLst/>
          </a:prstGeom>
          <a:noFill/>
          <a:ln w="1905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e offers ISP 20% of original requested subsidy for the residual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A5BA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$14,000 * 20% = $2,80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A0D22C-EF23-4F38-D214-DF4AB5051A98}"/>
              </a:ext>
            </a:extLst>
          </p:cNvPr>
          <p:cNvSpPr txBox="1"/>
          <p:nvPr/>
        </p:nvSpPr>
        <p:spPr>
          <a:xfrm>
            <a:off x="7738325" y="190829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BD9BDA-DCB9-3B71-59FD-BBCA6292B90E}"/>
              </a:ext>
            </a:extLst>
          </p:cNvPr>
          <p:cNvSpPr txBox="1"/>
          <p:nvPr/>
        </p:nvSpPr>
        <p:spPr>
          <a:xfrm>
            <a:off x="9452723" y="2447163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A1CC51-6BEF-6EEC-4CBF-8825F537B395}"/>
              </a:ext>
            </a:extLst>
          </p:cNvPr>
          <p:cNvSpPr txBox="1"/>
          <p:nvPr/>
        </p:nvSpPr>
        <p:spPr>
          <a:xfrm>
            <a:off x="6629402" y="1401071"/>
            <a:ext cx="4046648" cy="3492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hare of Reference Price examp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C34BF66-DCD2-FB4A-0D6C-E0E245E3A67B}"/>
              </a:ext>
            </a:extLst>
          </p:cNvPr>
          <p:cNvSpPr/>
          <p:nvPr/>
        </p:nvSpPr>
        <p:spPr>
          <a:xfrm>
            <a:off x="5534341" y="4052640"/>
            <a:ext cx="5904985" cy="421958"/>
          </a:xfrm>
          <a:prstGeom prst="roundRect">
            <a:avLst/>
          </a:prstGeom>
          <a:noFill/>
          <a:ln w="1905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bid was submitted for 4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BG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a total requested subsidy of $14,000; the cumulative reference price was $10,000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F82387C6-3F73-3099-8B36-09F19D58A9E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6862" y="5747007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0" name="Oval 20">
            <a:extLst>
              <a:ext uri="{FF2B5EF4-FFF2-40B4-BE49-F238E27FC236}">
                <a16:creationId xmlns:a16="http://schemas.microsoft.com/office/drawing/2014/main" id="{421D7F60-3E65-2AC1-5304-824DB939C3C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6862" y="5210699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30EFFC-2B28-0A79-83EF-1B011200EA6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6862" y="4674391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5D639CC5-F162-924E-8C08-CEAF24802EC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6862" y="4110164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5847585-4BC5-3CEC-766B-B3123B8428B9}"/>
              </a:ext>
            </a:extLst>
          </p:cNvPr>
          <p:cNvSpPr txBox="1"/>
          <p:nvPr/>
        </p:nvSpPr>
        <p:spPr>
          <a:xfrm>
            <a:off x="1059014" y="1315290"/>
            <a:ext cx="3358017" cy="3897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-rate methodology 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E27FE9C-9A01-B17B-9AC7-3EB527E48015}"/>
              </a:ext>
            </a:extLst>
          </p:cNvPr>
          <p:cNvSpPr/>
          <p:nvPr/>
        </p:nvSpPr>
        <p:spPr>
          <a:xfrm>
            <a:off x="673758" y="4287585"/>
            <a:ext cx="157832" cy="2589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85B7AFC-52DD-3845-18C4-D38AA0FD731F}"/>
              </a:ext>
            </a:extLst>
          </p:cNvPr>
          <p:cNvSpPr/>
          <p:nvPr/>
        </p:nvSpPr>
        <p:spPr>
          <a:xfrm>
            <a:off x="3185919" y="4319253"/>
            <a:ext cx="157832" cy="19564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51F3EA6-86B2-DD25-2888-80D89BE5527F}"/>
              </a:ext>
            </a:extLst>
          </p:cNvPr>
          <p:cNvSpPr/>
          <p:nvPr/>
        </p:nvSpPr>
        <p:spPr>
          <a:xfrm>
            <a:off x="846249" y="2234899"/>
            <a:ext cx="157832" cy="19564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4A0D58A-8375-EBFB-72E7-35FCD0C53C39}"/>
              </a:ext>
            </a:extLst>
          </p:cNvPr>
          <p:cNvGrpSpPr/>
          <p:nvPr/>
        </p:nvGrpSpPr>
        <p:grpSpPr>
          <a:xfrm>
            <a:off x="629999" y="6272092"/>
            <a:ext cx="10933350" cy="386901"/>
            <a:chOff x="4377840" y="5787460"/>
            <a:chExt cx="7184161" cy="53393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4C798C6-EF7C-08AE-E3D8-4FF3F341D7A3}"/>
                </a:ext>
              </a:extLst>
            </p:cNvPr>
            <p:cNvSpPr/>
            <p:nvPr/>
          </p:nvSpPr>
          <p:spPr>
            <a:xfrm>
              <a:off x="4416473" y="5851901"/>
              <a:ext cx="7145528" cy="469490"/>
            </a:xfrm>
            <a:prstGeom prst="rect">
              <a:avLst/>
            </a:prstGeom>
            <a:solidFill>
              <a:srgbClr val="1A5BA7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36DEFBC-776C-210B-8B1D-5BB17CC958C5}"/>
                </a:ext>
              </a:extLst>
            </p:cNvPr>
            <p:cNvSpPr/>
            <p:nvPr/>
          </p:nvSpPr>
          <p:spPr>
            <a:xfrm>
              <a:off x="4377840" y="5787460"/>
              <a:ext cx="7161697" cy="518097"/>
            </a:xfrm>
            <a:prstGeom prst="rect">
              <a:avLst/>
            </a:prstGeom>
            <a:solidFill>
              <a:srgbClr val="FFFFFF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marL="108000" marR="0" lvl="1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A5BA7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A5BA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te |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2010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The communication of counteroffers will take place in the applicant portal utilizing the existing  "revision request" fea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4314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NAME" val="AR Connect Grid 16:9"/>
  <p:tag name="THINKCELLUNDODONOTDELETE" val="0"/>
  <p:tag name="EE4P_STYLE_ID" val="39dcc26a-7131-49f4-a9eb-1c0521500c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 Connect Grid 16:9 - 22209">
  <a:themeElements>
    <a:clrScheme name="Grid">
      <a:dk1>
        <a:srgbClr val="020101"/>
      </a:dk1>
      <a:lt1>
        <a:sysClr val="window" lastClr="FFFFFF"/>
      </a:lt1>
      <a:dk2>
        <a:srgbClr val="1A5BA7"/>
      </a:dk2>
      <a:lt2>
        <a:srgbClr val="F2F2F2"/>
      </a:lt2>
      <a:accent1>
        <a:srgbClr val="0D2E53"/>
      </a:accent1>
      <a:accent2>
        <a:srgbClr val="13447D"/>
      </a:accent2>
      <a:accent3>
        <a:srgbClr val="FFD400"/>
      </a:accent3>
      <a:accent4>
        <a:srgbClr val="5A9AE5"/>
      </a:accent4>
      <a:accent5>
        <a:srgbClr val="7C8082"/>
      </a:accent5>
      <a:accent6>
        <a:srgbClr val="DA2131"/>
      </a:accent6>
      <a:hlink>
        <a:srgbClr val="6E4EA5"/>
      </a:hlink>
      <a:folHlink>
        <a:srgbClr val="AC99C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A5BA7"/>
        </a:solidFill>
        <a:ln w="9525" cap="rnd" cmpd="sng" algn="ctr">
          <a:solidFill>
            <a:srgbClr val="1A5BA7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Commerce">
      <a:dk1>
        <a:srgbClr val="000000"/>
      </a:dk1>
      <a:lt1>
        <a:srgbClr val="FFFFFF"/>
      </a:lt1>
      <a:dk2>
        <a:srgbClr val="4D4D4C"/>
      </a:dk2>
      <a:lt2>
        <a:srgbClr val="E3E4E3"/>
      </a:lt2>
      <a:accent1>
        <a:srgbClr val="2459A9"/>
      </a:accent1>
      <a:accent2>
        <a:srgbClr val="4C4D4C"/>
      </a:accent2>
      <a:accent3>
        <a:srgbClr val="000000"/>
      </a:accent3>
      <a:accent4>
        <a:srgbClr val="8A8A89"/>
      </a:accent4>
      <a:accent5>
        <a:srgbClr val="2459A9"/>
      </a:accent5>
      <a:accent6>
        <a:srgbClr val="FFFEFE"/>
      </a:accent6>
      <a:hlink>
        <a:srgbClr val="2459A9"/>
      </a:hlink>
      <a:folHlink>
        <a:srgbClr val="183D74"/>
      </a:folHlink>
    </a:clrScheme>
    <a:fontScheme name="AEDC Template">
      <a:majorFont>
        <a:latin typeface="Oswald SemiBold"/>
        <a:ea typeface=""/>
        <a:cs typeface=""/>
      </a:majorFont>
      <a:minorFont>
        <a:latin typeface="Oswal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oadband_PPT-Template_RV_Conference_Original_Mess Around_Conference_Maybe" id="{0448ABC7-72E2-45FE-AF58-EAC42A8A279E}" vid="{B140EF48-A7F3-44CC-A172-CDA8F231C41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E44BBFEE55374C8A5AB0EA53ED154B" ma:contentTypeVersion="6" ma:contentTypeDescription="Create a new document." ma:contentTypeScope="" ma:versionID="e4c9fc2919ac8ef8faad2cc414dd0cce">
  <xsd:schema xmlns:xsd="http://www.w3.org/2001/XMLSchema" xmlns:xs="http://www.w3.org/2001/XMLSchema" xmlns:p="http://schemas.microsoft.com/office/2006/metadata/properties" xmlns:ns2="2c7955f9-1c3b-40f9-ae89-c02ea7ec4bb2" xmlns:ns3="7627ecdc-1ee0-474f-8748-8f2677614092" targetNamespace="http://schemas.microsoft.com/office/2006/metadata/properties" ma:root="true" ma:fieldsID="fb6da9faa626e1cd8e0f98822306ac74" ns2:_="" ns3:_="">
    <xsd:import namespace="2c7955f9-1c3b-40f9-ae89-c02ea7ec4bb2"/>
    <xsd:import namespace="7627ecdc-1ee0-474f-8748-8f26776140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7955f9-1c3b-40f9-ae89-c02ea7ec4b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27ecdc-1ee0-474f-8748-8f2677614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083FF77-658A-4AFA-923D-51E6AA02A5D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34C805-836F-4B9F-BD54-3B8135017E75}">
  <ds:schemaRefs>
    <ds:schemaRef ds:uri="7627ecdc-1ee0-474f-8748-8f2677614092"/>
    <ds:schemaRef ds:uri="http://purl.org/dc/terms/"/>
    <ds:schemaRef ds:uri="http://purl.org/dc/dcmitype/"/>
    <ds:schemaRef ds:uri="http://schemas.microsoft.com/office/infopath/2007/PartnerControls"/>
    <ds:schemaRef ds:uri="2c7955f9-1c3b-40f9-ae89-c02ea7ec4bb2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741912EB-70E4-41D5-9CE3-A2A7611536BD}">
  <ds:schemaRefs>
    <ds:schemaRef ds:uri="2c7955f9-1c3b-40f9-ae89-c02ea7ec4bb2"/>
    <ds:schemaRef ds:uri="7627ecdc-1ee0-474f-8748-8f267761409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9</TotalTime>
  <Words>1009</Words>
  <Application>Microsoft Office PowerPoint</Application>
  <PresentationFormat>Widescreen</PresentationFormat>
  <Paragraphs>165</Paragraphs>
  <Slides>6</Slides>
  <Notes>4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  <vt:variant>
        <vt:lpstr>Custom Shows</vt:lpstr>
      </vt:variant>
      <vt:variant>
        <vt:i4>1</vt:i4>
      </vt:variant>
    </vt:vector>
  </HeadingPairs>
  <TitlesOfParts>
    <vt:vector size="15" baseType="lpstr">
      <vt:lpstr>Arial</vt:lpstr>
      <vt:lpstr>Oswald Light</vt:lpstr>
      <vt:lpstr>Oswald SemiBold</vt:lpstr>
      <vt:lpstr>Trebuchet MS</vt:lpstr>
      <vt:lpstr>Wingdings</vt:lpstr>
      <vt:lpstr>AR Connect Grid 16:9 - 22209</vt:lpstr>
      <vt:lpstr>Office Theme</vt:lpstr>
      <vt:lpstr>think-cell Slide</vt:lpstr>
      <vt:lpstr>The Arkansas  BEAD Program</vt:lpstr>
      <vt:lpstr>Recall | Overview of Arkansas' approach to achieving 100% coverage</vt:lpstr>
      <vt:lpstr>Recall | Tranche-2 will conclude with three distinct outcomes for bids and CBGs</vt:lpstr>
      <vt:lpstr>PowerPoint Presentation</vt:lpstr>
      <vt:lpstr>PAE outreach | Possible outcomes for partial award eligible CBGs during negotiations</vt:lpstr>
      <vt:lpstr>PAE outreach | Methodology for prorating partial award counteroffers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Joseph, Tyler</cp:lastModifiedBy>
  <cp:revision>4</cp:revision>
  <cp:lastPrinted>2000-01-01T06:00:00Z</cp:lastPrinted>
  <dcterms:created xsi:type="dcterms:W3CDTF">2024-06-04T17:47:03Z</dcterms:created>
  <dcterms:modified xsi:type="dcterms:W3CDTF">2025-03-20T17:1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4-06-04T17:47:22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1f9fae1b-ba1f-4f42-bbf3-a8968d49c002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ContentTypeId">
    <vt:lpwstr>0x0101001EE44BBFEE55374C8A5AB0EA53ED154B</vt:lpwstr>
  </property>
  <property fmtid="{D5CDD505-2E9C-101B-9397-08002B2CF9AE}" pid="15" name="MediaServiceImageTags">
    <vt:lpwstr/>
  </property>
</Properties>
</file>